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7.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7.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216.xml" ContentType="application/vnd.openxmlformats-officedocument.presentationml.tags+xml"/>
  <Override PartName="/ppt/notesSlides/notesSlide8.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9.xml" ContentType="application/vnd.openxmlformats-officedocument.presentationml.notesSlide+xml"/>
  <Override PartName="/ppt/tags/tag2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97" r:id="rId7"/>
  </p:sldMasterIdLst>
  <p:notesMasterIdLst>
    <p:notesMasterId r:id="rId20"/>
  </p:notesMasterIdLst>
  <p:sldIdLst>
    <p:sldId id="2147374981" r:id="rId8"/>
    <p:sldId id="2147374982" r:id="rId9"/>
    <p:sldId id="2147374990" r:id="rId10"/>
    <p:sldId id="2147375006" r:id="rId11"/>
    <p:sldId id="2147375007" r:id="rId12"/>
    <p:sldId id="2147374997" r:id="rId13"/>
    <p:sldId id="2147374998" r:id="rId14"/>
    <p:sldId id="2147375002" r:id="rId15"/>
    <p:sldId id="2147375003" r:id="rId16"/>
    <p:sldId id="2147375004" r:id="rId17"/>
    <p:sldId id="2147374920" r:id="rId18"/>
    <p:sldId id="2147374918"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rside og indhold" id="{84049FE7-3D48-4244-BDF1-147B7ECCADB0}">
          <p14:sldIdLst>
            <p14:sldId id="2147374981"/>
            <p14:sldId id="2147374982"/>
          </p14:sldIdLst>
        </p14:section>
        <p14:section name="Hovedpointer" id="{DAB99D1E-515F-4550-BADD-B353522CE667}">
          <p14:sldIdLst>
            <p14:sldId id="2147374990"/>
          </p14:sldIdLst>
        </p14:section>
        <p14:section name="Analyse" id="{BF64C0AA-BCA8-4B65-90A9-F2D7B4D9DDA0}">
          <p14:sldIdLst>
            <p14:sldId id="2147375006"/>
            <p14:sldId id="2147375007"/>
            <p14:sldId id="2147374997"/>
            <p14:sldId id="2147374998"/>
            <p14:sldId id="2147375002"/>
            <p14:sldId id="2147375003"/>
            <p14:sldId id="2147375004"/>
          </p14:sldIdLst>
        </p14:section>
        <p14:section name="Metode" id="{F1E2B340-8546-40ED-A224-4D0BE8C69B1B}">
          <p14:sldIdLst>
            <p14:sldId id="2147374920"/>
            <p14:sldId id="2147374918"/>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4A671E-5CA4-7523-5140-ED7AB9AEF6EE}" name="Ida Damsgaard" initials="ID" userId="S::idda@eifo.dk::8467f980-da15-4d4d-91b0-c43984527464" providerId="AD"/>
  <p188:author id="{32A60549-E293-2578-0565-296D76431018}" name="Anders Frølich" initials="AF" userId="S::anfr@eifo.dk::7e62f9a0-c2a0-4084-9261-f0b6c503ce51" providerId="AD"/>
  <p188:author id="{11FC964C-BFEF-1155-3300-DC3FABFB1CDE}" name="Erik Sverker Nilsson" initials="EN" userId="S::ERSN@eifo.dk::22548527-6203-4306-93dc-07a1be0ef9ef" providerId="AD"/>
  <p188:author id="{0CEDE45B-F272-5CD0-AC49-4A839AF7E285}" name="Mads Neuchs Vedel" initials="MV" userId="S::mave@eifo.dk::dacd3cd2-c058-4801-97ad-e71994142f9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121212"/>
    <a:srgbClr val="BFBFBF"/>
    <a:srgbClr val="4E644B"/>
    <a:srgbClr val="8A0000"/>
    <a:srgbClr val="F2F2F2"/>
    <a:srgbClr val="53684D"/>
    <a:srgbClr val="CC3300"/>
    <a:srgbClr val="FF2929"/>
    <a:srgbClr val="CFD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E7026A-8E50-4DF4-959C-A2CB9D20D5C6}" v="7894" dt="2026-03-10T07:25:03.770"/>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da Damsgaard" userId="8467f980-da15-4d4d-91b0-c43984527464" providerId="ADAL" clId="{0AB7D3AF-A425-4B49-BE15-72F242F07E3C}"/>
    <pc:docChg chg="undo redo custSel modSld">
      <pc:chgData name="Ida Damsgaard" userId="8467f980-da15-4d4d-91b0-c43984527464" providerId="ADAL" clId="{0AB7D3AF-A425-4B49-BE15-72F242F07E3C}" dt="2026-03-10T07:25:03.770" v="21508" actId="20577"/>
      <pc:docMkLst>
        <pc:docMk/>
      </pc:docMkLst>
      <pc:sldChg chg="modSp mod">
        <pc:chgData name="Ida Damsgaard" userId="8467f980-da15-4d4d-91b0-c43984527464" providerId="ADAL" clId="{0AB7D3AF-A425-4B49-BE15-72F242F07E3C}" dt="2026-03-09T07:27:37.267" v="395" actId="20577"/>
        <pc:sldMkLst>
          <pc:docMk/>
          <pc:sldMk cId="121038729" sldId="2147374918"/>
        </pc:sldMkLst>
        <pc:spChg chg="mod">
          <ac:chgData name="Ida Damsgaard" userId="8467f980-da15-4d4d-91b0-c43984527464" providerId="ADAL" clId="{0AB7D3AF-A425-4B49-BE15-72F242F07E3C}" dt="2026-03-09T07:27:37.267" v="395" actId="20577"/>
          <ac:spMkLst>
            <pc:docMk/>
            <pc:sldMk cId="121038729" sldId="2147374918"/>
            <ac:spMk id="2" creationId="{EFCBE560-E12E-8BFD-B89C-DECD89C1E6F1}"/>
          </ac:spMkLst>
        </pc:spChg>
      </pc:sldChg>
      <pc:sldChg chg="modSp mod">
        <pc:chgData name="Ida Damsgaard" userId="8467f980-da15-4d4d-91b0-c43984527464" providerId="ADAL" clId="{0AB7D3AF-A425-4B49-BE15-72F242F07E3C}" dt="2026-03-09T07:31:11.170" v="412" actId="20577"/>
        <pc:sldMkLst>
          <pc:docMk/>
          <pc:sldMk cId="1892122416" sldId="2147374920"/>
        </pc:sldMkLst>
        <pc:spChg chg="mod">
          <ac:chgData name="Ida Damsgaard" userId="8467f980-da15-4d4d-91b0-c43984527464" providerId="ADAL" clId="{0AB7D3AF-A425-4B49-BE15-72F242F07E3C}" dt="2026-03-09T07:31:11.170" v="412" actId="20577"/>
          <ac:spMkLst>
            <pc:docMk/>
            <pc:sldMk cId="1892122416" sldId="2147374920"/>
            <ac:spMk id="29" creationId="{8911A981-B611-B2C3-426C-72453F4FF2DE}"/>
          </ac:spMkLst>
        </pc:spChg>
      </pc:sldChg>
      <pc:sldChg chg="modSp mod">
        <pc:chgData name="Ida Damsgaard" userId="8467f980-da15-4d4d-91b0-c43984527464" providerId="ADAL" clId="{0AB7D3AF-A425-4B49-BE15-72F242F07E3C}" dt="2026-03-09T10:16:16.853" v="21450" actId="13926"/>
        <pc:sldMkLst>
          <pc:docMk/>
          <pc:sldMk cId="427384416" sldId="2147374982"/>
        </pc:sldMkLst>
        <pc:spChg chg="mod">
          <ac:chgData name="Ida Damsgaard" userId="8467f980-da15-4d4d-91b0-c43984527464" providerId="ADAL" clId="{0AB7D3AF-A425-4B49-BE15-72F242F07E3C}" dt="2026-03-09T10:16:16.853" v="21450" actId="13926"/>
          <ac:spMkLst>
            <pc:docMk/>
            <pc:sldMk cId="427384416" sldId="2147374982"/>
            <ac:spMk id="6" creationId="{C6DF2E01-48C9-E9B1-7DE1-7C5FBDBB440D}"/>
          </ac:spMkLst>
        </pc:spChg>
        <pc:spChg chg="mod">
          <ac:chgData name="Ida Damsgaard" userId="8467f980-da15-4d4d-91b0-c43984527464" providerId="ADAL" clId="{0AB7D3AF-A425-4B49-BE15-72F242F07E3C}" dt="2026-03-09T06:38:52.620" v="2" actId="20577"/>
          <ac:spMkLst>
            <pc:docMk/>
            <pc:sldMk cId="427384416" sldId="2147374982"/>
            <ac:spMk id="11" creationId="{B470F34F-9FC6-EF58-5FDB-9BFDA21C5A20}"/>
          </ac:spMkLst>
        </pc:spChg>
      </pc:sldChg>
      <pc:sldChg chg="modSp mod">
        <pc:chgData name="Ida Damsgaard" userId="8467f980-da15-4d4d-91b0-c43984527464" providerId="ADAL" clId="{0AB7D3AF-A425-4B49-BE15-72F242F07E3C}" dt="2026-03-09T13:50:53.800" v="21488" actId="6549"/>
        <pc:sldMkLst>
          <pc:docMk/>
          <pc:sldMk cId="4073539652" sldId="2147374990"/>
        </pc:sldMkLst>
        <pc:spChg chg="mod">
          <ac:chgData name="Ida Damsgaard" userId="8467f980-da15-4d4d-91b0-c43984527464" providerId="ADAL" clId="{0AB7D3AF-A425-4B49-BE15-72F242F07E3C}" dt="2026-03-09T10:16:21.717" v="21451" actId="13926"/>
          <ac:spMkLst>
            <pc:docMk/>
            <pc:sldMk cId="4073539652" sldId="2147374990"/>
            <ac:spMk id="13" creationId="{ABE6F145-B60D-DB9A-6FAA-570CBFD66CDD}"/>
          </ac:spMkLst>
        </pc:spChg>
        <pc:spChg chg="mod">
          <ac:chgData name="Ida Damsgaard" userId="8467f980-da15-4d4d-91b0-c43984527464" providerId="ADAL" clId="{0AB7D3AF-A425-4B49-BE15-72F242F07E3C}" dt="2026-03-09T13:49:50.766" v="21461" actId="20577"/>
          <ac:spMkLst>
            <pc:docMk/>
            <pc:sldMk cId="4073539652" sldId="2147374990"/>
            <ac:spMk id="36" creationId="{037EB20B-79AC-1E52-9874-66D5B04C0E12}"/>
          </ac:spMkLst>
        </pc:spChg>
        <pc:spChg chg="mod">
          <ac:chgData name="Ida Damsgaard" userId="8467f980-da15-4d4d-91b0-c43984527464" providerId="ADAL" clId="{0AB7D3AF-A425-4B49-BE15-72F242F07E3C}" dt="2026-03-09T13:50:53.800" v="21488" actId="6549"/>
          <ac:spMkLst>
            <pc:docMk/>
            <pc:sldMk cId="4073539652" sldId="2147374990"/>
            <ac:spMk id="37" creationId="{EED8C442-94AA-6F8C-E672-DEB9793562E9}"/>
          </ac:spMkLst>
        </pc:spChg>
      </pc:sldChg>
      <pc:sldChg chg="addSp delSp modSp mod">
        <pc:chgData name="Ida Damsgaard" userId="8467f980-da15-4d4d-91b0-c43984527464" providerId="ADAL" clId="{0AB7D3AF-A425-4B49-BE15-72F242F07E3C}" dt="2026-03-09T10:15:41.297" v="21445"/>
        <pc:sldMkLst>
          <pc:docMk/>
          <pc:sldMk cId="2230902843" sldId="2147374997"/>
        </pc:sldMkLst>
        <pc:spChg chg="mod ord">
          <ac:chgData name="Ida Damsgaard" userId="8467f980-da15-4d4d-91b0-c43984527464" providerId="ADAL" clId="{0AB7D3AF-A425-4B49-BE15-72F242F07E3C}" dt="2026-03-09T08:19:58.511" v="21330"/>
          <ac:spMkLst>
            <pc:docMk/>
            <pc:sldMk cId="2230902843" sldId="2147374997"/>
            <ac:spMk id="2" creationId="{838B3214-66B2-4937-F646-DC69505CB06D}"/>
          </ac:spMkLst>
        </pc:spChg>
        <pc:spChg chg="mod ord">
          <ac:chgData name="Ida Damsgaard" userId="8467f980-da15-4d4d-91b0-c43984527464" providerId="ADAL" clId="{0AB7D3AF-A425-4B49-BE15-72F242F07E3C}" dt="2026-03-09T08:19:58.511" v="21332"/>
          <ac:spMkLst>
            <pc:docMk/>
            <pc:sldMk cId="2230902843" sldId="2147374997"/>
            <ac:spMk id="3" creationId="{0B1C9949-F723-687E-BB9B-6217E3370FCB}"/>
          </ac:spMkLst>
        </pc:spChg>
        <pc:spChg chg="mod ord">
          <ac:chgData name="Ida Damsgaard" userId="8467f980-da15-4d4d-91b0-c43984527464" providerId="ADAL" clId="{0AB7D3AF-A425-4B49-BE15-72F242F07E3C}" dt="2026-03-09T08:19:58.543" v="21415"/>
          <ac:spMkLst>
            <pc:docMk/>
            <pc:sldMk cId="2230902843" sldId="2147374997"/>
            <ac:spMk id="4" creationId="{B7CD9A0D-D425-724B-FD0E-FEC9718AE12A}"/>
          </ac:spMkLst>
        </pc:spChg>
        <pc:spChg chg="add del mod modVis">
          <ac:chgData name="Ida Damsgaard" userId="8467f980-da15-4d4d-91b0-c43984527464" providerId="ADAL" clId="{0AB7D3AF-A425-4B49-BE15-72F242F07E3C}" dt="2026-03-09T08:10:52.398" v="637"/>
          <ac:spMkLst>
            <pc:docMk/>
            <pc:sldMk cId="2230902843" sldId="2147374997"/>
            <ac:spMk id="5" creationId="{29D93A11-D3FA-A9EF-657D-293BEA38FCF7}"/>
          </ac:spMkLst>
        </pc:spChg>
        <pc:spChg chg="add del mod modVis">
          <ac:chgData name="Ida Damsgaard" userId="8467f980-da15-4d4d-91b0-c43984527464" providerId="ADAL" clId="{0AB7D3AF-A425-4B49-BE15-72F242F07E3C}" dt="2026-03-09T08:11:23.054" v="924"/>
          <ac:spMkLst>
            <pc:docMk/>
            <pc:sldMk cId="2230902843" sldId="2147374997"/>
            <ac:spMk id="8" creationId="{3C619E48-BA14-B37D-9151-47F841E96BD0}"/>
          </ac:spMkLst>
        </pc:spChg>
        <pc:spChg chg="mod ord">
          <ac:chgData name="Ida Damsgaard" userId="8467f980-da15-4d4d-91b0-c43984527464" providerId="ADAL" clId="{0AB7D3AF-A425-4B49-BE15-72F242F07E3C}" dt="2026-03-09T08:19:58.511" v="21334"/>
          <ac:spMkLst>
            <pc:docMk/>
            <pc:sldMk cId="2230902843" sldId="2147374997"/>
            <ac:spMk id="10" creationId="{A36E87A6-4873-1B43-BEA9-4376EF5B8974}"/>
          </ac:spMkLst>
        </pc:spChg>
        <pc:spChg chg="add del mod modVis">
          <ac:chgData name="Ida Damsgaard" userId="8467f980-da15-4d4d-91b0-c43984527464" providerId="ADAL" clId="{0AB7D3AF-A425-4B49-BE15-72F242F07E3C}" dt="2026-03-09T08:11:25.647" v="1211"/>
          <ac:spMkLst>
            <pc:docMk/>
            <pc:sldMk cId="2230902843" sldId="2147374997"/>
            <ac:spMk id="11" creationId="{5E6AB090-AD69-B487-3F66-ED5D51014AFC}"/>
          </ac:spMkLst>
        </pc:spChg>
        <pc:spChg chg="mod ord">
          <ac:chgData name="Ida Damsgaard" userId="8467f980-da15-4d4d-91b0-c43984527464" providerId="ADAL" clId="{0AB7D3AF-A425-4B49-BE15-72F242F07E3C}" dt="2026-03-09T08:19:58.543" v="21417"/>
          <ac:spMkLst>
            <pc:docMk/>
            <pc:sldMk cId="2230902843" sldId="2147374997"/>
            <ac:spMk id="17" creationId="{A427E028-5B64-FC7F-C5CC-C25C58291E90}"/>
          </ac:spMkLst>
        </pc:spChg>
        <pc:spChg chg="add del mod modVis">
          <ac:chgData name="Ida Damsgaard" userId="8467f980-da15-4d4d-91b0-c43984527464" providerId="ADAL" clId="{0AB7D3AF-A425-4B49-BE15-72F242F07E3C}" dt="2026-03-09T08:12:40.980" v="1935" actId="962"/>
          <ac:spMkLst>
            <pc:docMk/>
            <pc:sldMk cId="2230902843" sldId="2147374997"/>
            <ac:spMk id="18" creationId="{D6E154FC-3451-CD7D-5C78-5A9CEE56E2FB}"/>
          </ac:spMkLst>
        </pc:spChg>
        <pc:spChg chg="mod ord">
          <ac:chgData name="Ida Damsgaard" userId="8467f980-da15-4d4d-91b0-c43984527464" providerId="ADAL" clId="{0AB7D3AF-A425-4B49-BE15-72F242F07E3C}" dt="2026-03-09T08:19:58.543" v="21419"/>
          <ac:spMkLst>
            <pc:docMk/>
            <pc:sldMk cId="2230902843" sldId="2147374997"/>
            <ac:spMk id="19" creationId="{8CFA9B19-76A0-CA12-7536-B2E4AE52D2A6}"/>
          </ac:spMkLst>
        </pc:spChg>
        <pc:spChg chg="mod ord">
          <ac:chgData name="Ida Damsgaard" userId="8467f980-da15-4d4d-91b0-c43984527464" providerId="ADAL" clId="{0AB7D3AF-A425-4B49-BE15-72F242F07E3C}" dt="2026-03-09T08:19:58.511" v="21336"/>
          <ac:spMkLst>
            <pc:docMk/>
            <pc:sldMk cId="2230902843" sldId="2147374997"/>
            <ac:spMk id="20" creationId="{25692A88-E255-ED7E-ECEF-890E2E29D9E7}"/>
          </ac:spMkLst>
        </pc:spChg>
        <pc:spChg chg="mod ord">
          <ac:chgData name="Ida Damsgaard" userId="8467f980-da15-4d4d-91b0-c43984527464" providerId="ADAL" clId="{0AB7D3AF-A425-4B49-BE15-72F242F07E3C}" dt="2026-03-09T08:19:58.511" v="21338"/>
          <ac:spMkLst>
            <pc:docMk/>
            <pc:sldMk cId="2230902843" sldId="2147374997"/>
            <ac:spMk id="21" creationId="{5E001B32-B426-FE3F-D42F-1B27DD13E83C}"/>
          </ac:spMkLst>
        </pc:spChg>
        <pc:spChg chg="mod ord">
          <ac:chgData name="Ida Damsgaard" userId="8467f980-da15-4d4d-91b0-c43984527464" providerId="ADAL" clId="{0AB7D3AF-A425-4B49-BE15-72F242F07E3C}" dt="2026-03-09T08:19:58.511" v="21340"/>
          <ac:spMkLst>
            <pc:docMk/>
            <pc:sldMk cId="2230902843" sldId="2147374997"/>
            <ac:spMk id="22" creationId="{906A5760-3A30-BB66-4976-76C31880B804}"/>
          </ac:spMkLst>
        </pc:spChg>
        <pc:spChg chg="mod ord">
          <ac:chgData name="Ida Damsgaard" userId="8467f980-da15-4d4d-91b0-c43984527464" providerId="ADAL" clId="{0AB7D3AF-A425-4B49-BE15-72F242F07E3C}" dt="2026-03-09T08:19:58.511" v="21342"/>
          <ac:spMkLst>
            <pc:docMk/>
            <pc:sldMk cId="2230902843" sldId="2147374997"/>
            <ac:spMk id="23" creationId="{3B138754-8400-BCCB-C6BE-5A7EDB0ED0C8}"/>
          </ac:spMkLst>
        </pc:spChg>
        <pc:spChg chg="mod ord">
          <ac:chgData name="Ida Damsgaard" userId="8467f980-da15-4d4d-91b0-c43984527464" providerId="ADAL" clId="{0AB7D3AF-A425-4B49-BE15-72F242F07E3C}" dt="2026-03-09T08:19:58.511" v="21344"/>
          <ac:spMkLst>
            <pc:docMk/>
            <pc:sldMk cId="2230902843" sldId="2147374997"/>
            <ac:spMk id="24" creationId="{0D64E7E8-F5FA-5573-B67D-2134572DE69C}"/>
          </ac:spMkLst>
        </pc:spChg>
        <pc:spChg chg="mod ord">
          <ac:chgData name="Ida Damsgaard" userId="8467f980-da15-4d4d-91b0-c43984527464" providerId="ADAL" clId="{0AB7D3AF-A425-4B49-BE15-72F242F07E3C}" dt="2026-03-09T08:19:58.511" v="21346"/>
          <ac:spMkLst>
            <pc:docMk/>
            <pc:sldMk cId="2230902843" sldId="2147374997"/>
            <ac:spMk id="25" creationId="{56E53696-2455-2C25-9BFC-D85198793822}"/>
          </ac:spMkLst>
        </pc:spChg>
        <pc:spChg chg="mod ord">
          <ac:chgData name="Ida Damsgaard" userId="8467f980-da15-4d4d-91b0-c43984527464" providerId="ADAL" clId="{0AB7D3AF-A425-4B49-BE15-72F242F07E3C}" dt="2026-03-09T08:19:58.511" v="21348"/>
          <ac:spMkLst>
            <pc:docMk/>
            <pc:sldMk cId="2230902843" sldId="2147374997"/>
            <ac:spMk id="26" creationId="{5A7FB58D-5D98-CA35-EA6B-2C0DEB76E3F0}"/>
          </ac:spMkLst>
        </pc:spChg>
        <pc:spChg chg="mod ord">
          <ac:chgData name="Ida Damsgaard" userId="8467f980-da15-4d4d-91b0-c43984527464" providerId="ADAL" clId="{0AB7D3AF-A425-4B49-BE15-72F242F07E3C}" dt="2026-03-09T08:19:58.511" v="21350"/>
          <ac:spMkLst>
            <pc:docMk/>
            <pc:sldMk cId="2230902843" sldId="2147374997"/>
            <ac:spMk id="27" creationId="{4665022C-EE2A-734E-92BA-898A27FE8C01}"/>
          </ac:spMkLst>
        </pc:spChg>
        <pc:spChg chg="mod ord">
          <ac:chgData name="Ida Damsgaard" userId="8467f980-da15-4d4d-91b0-c43984527464" providerId="ADAL" clId="{0AB7D3AF-A425-4B49-BE15-72F242F07E3C}" dt="2026-03-09T08:19:58.511" v="21352"/>
          <ac:spMkLst>
            <pc:docMk/>
            <pc:sldMk cId="2230902843" sldId="2147374997"/>
            <ac:spMk id="28" creationId="{D935E40A-B639-90C8-FDC1-B568A543FEDE}"/>
          </ac:spMkLst>
        </pc:spChg>
        <pc:spChg chg="mod ord">
          <ac:chgData name="Ida Damsgaard" userId="8467f980-da15-4d4d-91b0-c43984527464" providerId="ADAL" clId="{0AB7D3AF-A425-4B49-BE15-72F242F07E3C}" dt="2026-03-09T08:19:58.511" v="21354"/>
          <ac:spMkLst>
            <pc:docMk/>
            <pc:sldMk cId="2230902843" sldId="2147374997"/>
            <ac:spMk id="29" creationId="{FD771F89-1855-235C-0CE9-DA1E5FEE489E}"/>
          </ac:spMkLst>
        </pc:spChg>
        <pc:spChg chg="add del mod modVis">
          <ac:chgData name="Ida Damsgaard" userId="8467f980-da15-4d4d-91b0-c43984527464" providerId="ADAL" clId="{0AB7D3AF-A425-4B49-BE15-72F242F07E3C}" dt="2026-03-09T08:13:34.263" v="2125"/>
          <ac:spMkLst>
            <pc:docMk/>
            <pc:sldMk cId="2230902843" sldId="2147374997"/>
            <ac:spMk id="32" creationId="{9909E127-B62F-F79B-E188-D816D7EF5428}"/>
          </ac:spMkLst>
        </pc:spChg>
        <pc:spChg chg="add del mod modVis">
          <ac:chgData name="Ida Damsgaard" userId="8467f980-da15-4d4d-91b0-c43984527464" providerId="ADAL" clId="{0AB7D3AF-A425-4B49-BE15-72F242F07E3C}" dt="2026-03-09T08:15:20.514" v="14280" actId="962"/>
          <ac:spMkLst>
            <pc:docMk/>
            <pc:sldMk cId="2230902843" sldId="2147374997"/>
            <ac:spMk id="34" creationId="{96B4BE44-547A-7EB0-F89D-E76750FCED03}"/>
          </ac:spMkLst>
        </pc:spChg>
        <pc:spChg chg="add del mod ord">
          <ac:chgData name="Ida Damsgaard" userId="8467f980-da15-4d4d-91b0-c43984527464" providerId="ADAL" clId="{0AB7D3AF-A425-4B49-BE15-72F242F07E3C}" dt="2026-03-09T08:15:20.441" v="14194" actId="139"/>
          <ac:spMkLst>
            <pc:docMk/>
            <pc:sldMk cId="2230902843" sldId="2147374997"/>
            <ac:spMk id="35" creationId="{2FA8C3B6-DCD1-EC06-3CDC-1FA08665A616}"/>
          </ac:spMkLst>
        </pc:spChg>
        <pc:spChg chg="add del mod ord">
          <ac:chgData name="Ida Damsgaard" userId="8467f980-da15-4d4d-91b0-c43984527464" providerId="ADAL" clId="{0AB7D3AF-A425-4B49-BE15-72F242F07E3C}" dt="2026-03-09T08:15:20.419" v="14164" actId="139"/>
          <ac:spMkLst>
            <pc:docMk/>
            <pc:sldMk cId="2230902843" sldId="2147374997"/>
            <ac:spMk id="36" creationId="{2FA8C3B6-DCD1-EC06-3CDC-1FA08665A616}"/>
          </ac:spMkLst>
        </pc:spChg>
        <pc:spChg chg="add del mod ord">
          <ac:chgData name="Ida Damsgaard" userId="8467f980-da15-4d4d-91b0-c43984527464" providerId="ADAL" clId="{0AB7D3AF-A425-4B49-BE15-72F242F07E3C}" dt="2026-03-09T08:15:20.400" v="14134" actId="139"/>
          <ac:spMkLst>
            <pc:docMk/>
            <pc:sldMk cId="2230902843" sldId="2147374997"/>
            <ac:spMk id="37" creationId="{2FA8C3B6-DCD1-EC06-3CDC-1FA08665A616}"/>
          </ac:spMkLst>
        </pc:spChg>
        <pc:spChg chg="mod ord">
          <ac:chgData name="Ida Damsgaard" userId="8467f980-da15-4d4d-91b0-c43984527464" providerId="ADAL" clId="{0AB7D3AF-A425-4B49-BE15-72F242F07E3C}" dt="2026-03-09T08:19:58.527" v="21378"/>
          <ac:spMkLst>
            <pc:docMk/>
            <pc:sldMk cId="2230902843" sldId="2147374997"/>
            <ac:spMk id="49" creationId="{B230D6A8-B45B-F5E2-85E6-943E9808F2A6}"/>
          </ac:spMkLst>
        </pc:spChg>
        <pc:spChg chg="add del mod ord">
          <ac:chgData name="Ida Damsgaard" userId="8467f980-da15-4d4d-91b0-c43984527464" providerId="ADAL" clId="{0AB7D3AF-A425-4B49-BE15-72F242F07E3C}" dt="2026-03-09T08:15:20.378" v="14104" actId="139"/>
          <ac:spMkLst>
            <pc:docMk/>
            <pc:sldMk cId="2230902843" sldId="2147374997"/>
            <ac:spMk id="50" creationId="{2FA8C3B6-DCD1-EC06-3CDC-1FA08665A616}"/>
          </ac:spMkLst>
        </pc:spChg>
        <pc:spChg chg="mod ord">
          <ac:chgData name="Ida Damsgaard" userId="8467f980-da15-4d4d-91b0-c43984527464" providerId="ADAL" clId="{0AB7D3AF-A425-4B49-BE15-72F242F07E3C}" dt="2026-03-09T08:19:58.527" v="21380"/>
          <ac:spMkLst>
            <pc:docMk/>
            <pc:sldMk cId="2230902843" sldId="2147374997"/>
            <ac:spMk id="51" creationId="{E1DE4405-7DDE-8AB7-D529-8297D530341E}"/>
          </ac:spMkLst>
        </pc:spChg>
        <pc:spChg chg="add del mod ord">
          <ac:chgData name="Ida Damsgaard" userId="8467f980-da15-4d4d-91b0-c43984527464" providerId="ADAL" clId="{0AB7D3AF-A425-4B49-BE15-72F242F07E3C}" dt="2026-03-09T08:15:20.356" v="14074" actId="139"/>
          <ac:spMkLst>
            <pc:docMk/>
            <pc:sldMk cId="2230902843" sldId="2147374997"/>
            <ac:spMk id="52" creationId="{2FA8C3B6-DCD1-EC06-3CDC-1FA08665A616}"/>
          </ac:spMkLst>
        </pc:spChg>
        <pc:spChg chg="add del mod modVis">
          <ac:chgData name="Ida Damsgaard" userId="8467f980-da15-4d4d-91b0-c43984527464" providerId="ADAL" clId="{0AB7D3AF-A425-4B49-BE15-72F242F07E3C}" dt="2026-03-09T08:15:19.814" v="13880" actId="962"/>
          <ac:spMkLst>
            <pc:docMk/>
            <pc:sldMk cId="2230902843" sldId="2147374997"/>
            <ac:spMk id="59" creationId="{EF949300-9CB6-472E-5D95-7B56B5280B9B}"/>
          </ac:spMkLst>
        </pc:spChg>
        <pc:spChg chg="add del mod ord">
          <ac:chgData name="Ida Damsgaard" userId="8467f980-da15-4d4d-91b0-c43984527464" providerId="ADAL" clId="{0AB7D3AF-A425-4B49-BE15-72F242F07E3C}" dt="2026-03-09T08:15:19.766" v="13821" actId="139"/>
          <ac:spMkLst>
            <pc:docMk/>
            <pc:sldMk cId="2230902843" sldId="2147374997"/>
            <ac:spMk id="60" creationId="{2FA8C3B6-DCD1-EC06-3CDC-1FA08665A616}"/>
          </ac:spMkLst>
        </pc:spChg>
        <pc:spChg chg="add del mod ord">
          <ac:chgData name="Ida Damsgaard" userId="8467f980-da15-4d4d-91b0-c43984527464" providerId="ADAL" clId="{0AB7D3AF-A425-4B49-BE15-72F242F07E3C}" dt="2026-03-09T08:15:19.753" v="13791" actId="139"/>
          <ac:spMkLst>
            <pc:docMk/>
            <pc:sldMk cId="2230902843" sldId="2147374997"/>
            <ac:spMk id="62" creationId="{2FA8C3B6-DCD1-EC06-3CDC-1FA08665A616}"/>
          </ac:spMkLst>
        </pc:spChg>
        <pc:spChg chg="add del mod ord">
          <ac:chgData name="Ida Damsgaard" userId="8467f980-da15-4d4d-91b0-c43984527464" providerId="ADAL" clId="{0AB7D3AF-A425-4B49-BE15-72F242F07E3C}" dt="2026-03-09T08:15:19.735" v="13761" actId="139"/>
          <ac:spMkLst>
            <pc:docMk/>
            <pc:sldMk cId="2230902843" sldId="2147374997"/>
            <ac:spMk id="63" creationId="{2FA8C3B6-DCD1-EC06-3CDC-1FA08665A616}"/>
          </ac:spMkLst>
        </pc:spChg>
        <pc:spChg chg="add del mod ord">
          <ac:chgData name="Ida Damsgaard" userId="8467f980-da15-4d4d-91b0-c43984527464" providerId="ADAL" clId="{0AB7D3AF-A425-4B49-BE15-72F242F07E3C}" dt="2026-03-09T08:15:19.719" v="13731" actId="139"/>
          <ac:spMkLst>
            <pc:docMk/>
            <pc:sldMk cId="2230902843" sldId="2147374997"/>
            <ac:spMk id="64" creationId="{2FA8C3B6-DCD1-EC06-3CDC-1FA08665A616}"/>
          </ac:spMkLst>
        </pc:spChg>
        <pc:spChg chg="add del mod ord">
          <ac:chgData name="Ida Damsgaard" userId="8467f980-da15-4d4d-91b0-c43984527464" providerId="ADAL" clId="{0AB7D3AF-A425-4B49-BE15-72F242F07E3C}" dt="2026-03-09T08:15:19.699" v="13701" actId="139"/>
          <ac:spMkLst>
            <pc:docMk/>
            <pc:sldMk cId="2230902843" sldId="2147374997"/>
            <ac:spMk id="65" creationId="{2FA8C3B6-DCD1-EC06-3CDC-1FA08665A616}"/>
          </ac:spMkLst>
        </pc:spChg>
        <pc:spChg chg="mod ord">
          <ac:chgData name="Ida Damsgaard" userId="8467f980-da15-4d4d-91b0-c43984527464" providerId="ADAL" clId="{0AB7D3AF-A425-4B49-BE15-72F242F07E3C}" dt="2026-03-09T08:19:58.537" v="21388"/>
          <ac:spMkLst>
            <pc:docMk/>
            <pc:sldMk cId="2230902843" sldId="2147374997"/>
            <ac:spMk id="66" creationId="{2BCC4B0D-B7A5-B821-B696-FDD9FBB92E24}"/>
          </ac:spMkLst>
        </pc:spChg>
        <pc:spChg chg="add del mod ord">
          <ac:chgData name="Ida Damsgaard" userId="8467f980-da15-4d4d-91b0-c43984527464" providerId="ADAL" clId="{0AB7D3AF-A425-4B49-BE15-72F242F07E3C}" dt="2026-03-09T08:15:19.671" v="13671" actId="139"/>
          <ac:spMkLst>
            <pc:docMk/>
            <pc:sldMk cId="2230902843" sldId="2147374997"/>
            <ac:spMk id="67" creationId="{2FA8C3B6-DCD1-EC06-3CDC-1FA08665A616}"/>
          </ac:spMkLst>
        </pc:spChg>
        <pc:spChg chg="mod ord">
          <ac:chgData name="Ida Damsgaard" userId="8467f980-da15-4d4d-91b0-c43984527464" providerId="ADAL" clId="{0AB7D3AF-A425-4B49-BE15-72F242F07E3C}" dt="2026-03-09T08:19:58.537" v="21392"/>
          <ac:spMkLst>
            <pc:docMk/>
            <pc:sldMk cId="2230902843" sldId="2147374997"/>
            <ac:spMk id="68" creationId="{098FA86A-D28B-F9A7-4CEB-6321B895850F}"/>
          </ac:spMkLst>
        </pc:spChg>
        <pc:spChg chg="add del mod ord">
          <ac:chgData name="Ida Damsgaard" userId="8467f980-da15-4d4d-91b0-c43984527464" providerId="ADAL" clId="{0AB7D3AF-A425-4B49-BE15-72F242F07E3C}" dt="2026-03-09T08:15:19.655" v="13641" actId="139"/>
          <ac:spMkLst>
            <pc:docMk/>
            <pc:sldMk cId="2230902843" sldId="2147374997"/>
            <ac:spMk id="69" creationId="{2FA8C3B6-DCD1-EC06-3CDC-1FA08665A616}"/>
          </ac:spMkLst>
        </pc:spChg>
        <pc:spChg chg="mod ord">
          <ac:chgData name="Ida Damsgaard" userId="8467f980-da15-4d4d-91b0-c43984527464" providerId="ADAL" clId="{0AB7D3AF-A425-4B49-BE15-72F242F07E3C}" dt="2026-03-09T08:19:58.537" v="21398"/>
          <ac:spMkLst>
            <pc:docMk/>
            <pc:sldMk cId="2230902843" sldId="2147374997"/>
            <ac:spMk id="71" creationId="{5BE1289A-2CD4-2451-CE32-7EDD6A5B0A75}"/>
          </ac:spMkLst>
        </pc:spChg>
        <pc:spChg chg="mod ord">
          <ac:chgData name="Ida Damsgaard" userId="8467f980-da15-4d4d-91b0-c43984527464" providerId="ADAL" clId="{0AB7D3AF-A425-4B49-BE15-72F242F07E3C}" dt="2026-03-09T08:19:58.543" v="21404"/>
          <ac:spMkLst>
            <pc:docMk/>
            <pc:sldMk cId="2230902843" sldId="2147374997"/>
            <ac:spMk id="75" creationId="{816332A1-E32A-34E9-6119-97AE1734F35E}"/>
          </ac:spMkLst>
        </pc:spChg>
        <pc:spChg chg="mod ord">
          <ac:chgData name="Ida Damsgaard" userId="8467f980-da15-4d4d-91b0-c43984527464" providerId="ADAL" clId="{0AB7D3AF-A425-4B49-BE15-72F242F07E3C}" dt="2026-03-09T08:19:58.543" v="21406"/>
          <ac:spMkLst>
            <pc:docMk/>
            <pc:sldMk cId="2230902843" sldId="2147374997"/>
            <ac:spMk id="76" creationId="{3EF57A1C-841B-A47B-24F3-513752BAE5A5}"/>
          </ac:spMkLst>
        </pc:spChg>
        <pc:spChg chg="mod ord">
          <ac:chgData name="Ida Damsgaard" userId="8467f980-da15-4d4d-91b0-c43984527464" providerId="ADAL" clId="{0AB7D3AF-A425-4B49-BE15-72F242F07E3C}" dt="2026-03-09T08:19:58.543" v="21408"/>
          <ac:spMkLst>
            <pc:docMk/>
            <pc:sldMk cId="2230902843" sldId="2147374997"/>
            <ac:spMk id="77" creationId="{CAB23B5F-E42C-5C5C-0226-AF8F7B64670F}"/>
          </ac:spMkLst>
        </pc:spChg>
        <pc:spChg chg="mod">
          <ac:chgData name="Ida Damsgaard" userId="8467f980-da15-4d4d-91b0-c43984527464" providerId="ADAL" clId="{0AB7D3AF-A425-4B49-BE15-72F242F07E3C}" dt="2026-03-09T08:19:58.543" v="21409"/>
          <ac:spMkLst>
            <pc:docMk/>
            <pc:sldMk cId="2230902843" sldId="2147374997"/>
            <ac:spMk id="78" creationId="{5564F3FE-D38F-318C-396A-B34F7A0343F9}"/>
          </ac:spMkLst>
        </pc:spChg>
        <pc:spChg chg="mod">
          <ac:chgData name="Ida Damsgaard" userId="8467f980-da15-4d4d-91b0-c43984527464" providerId="ADAL" clId="{0AB7D3AF-A425-4B49-BE15-72F242F07E3C}" dt="2026-03-09T08:19:58.543" v="21410"/>
          <ac:spMkLst>
            <pc:docMk/>
            <pc:sldMk cId="2230902843" sldId="2147374997"/>
            <ac:spMk id="79" creationId="{F9E5E920-B216-E221-BC98-2B6CFEB49264}"/>
          </ac:spMkLst>
        </pc:spChg>
        <pc:spChg chg="mod">
          <ac:chgData name="Ida Damsgaard" userId="8467f980-da15-4d4d-91b0-c43984527464" providerId="ADAL" clId="{0AB7D3AF-A425-4B49-BE15-72F242F07E3C}" dt="2026-03-09T08:19:58.543" v="21411"/>
          <ac:spMkLst>
            <pc:docMk/>
            <pc:sldMk cId="2230902843" sldId="2147374997"/>
            <ac:spMk id="80" creationId="{0F508D8A-09C9-ED9D-CFAF-2065695E41FE}"/>
          </ac:spMkLst>
        </pc:spChg>
        <pc:spChg chg="add del mod">
          <ac:chgData name="Ida Damsgaard" userId="8467f980-da15-4d4d-91b0-c43984527464" providerId="ADAL" clId="{0AB7D3AF-A425-4B49-BE15-72F242F07E3C}" dt="2026-03-09T08:14:10.233" v="3906"/>
          <ac:spMkLst>
            <pc:docMk/>
            <pc:sldMk cId="2230902843" sldId="2147374997"/>
            <ac:spMk id="83" creationId="{1BAF7765-A4DB-A66C-6710-D13811CE8897}"/>
          </ac:spMkLst>
        </pc:spChg>
        <pc:spChg chg="add del mod modVis">
          <ac:chgData name="Ida Damsgaard" userId="8467f980-da15-4d4d-91b0-c43984527464" providerId="ADAL" clId="{0AB7D3AF-A425-4B49-BE15-72F242F07E3C}" dt="2026-03-09T08:15:18.943" v="13451" actId="962"/>
          <ac:spMkLst>
            <pc:docMk/>
            <pc:sldMk cId="2230902843" sldId="2147374997"/>
            <ac:spMk id="84" creationId="{0321DB20-C307-0FCA-9049-8703A4DB462F}"/>
          </ac:spMkLst>
        </pc:spChg>
        <pc:spChg chg="add del mod modVis">
          <ac:chgData name="Ida Damsgaard" userId="8467f980-da15-4d4d-91b0-c43984527464" providerId="ADAL" clId="{0AB7D3AF-A425-4B49-BE15-72F242F07E3C}" dt="2026-03-09T08:15:18.421" v="13350" actId="962"/>
          <ac:spMkLst>
            <pc:docMk/>
            <pc:sldMk cId="2230902843" sldId="2147374997"/>
            <ac:spMk id="88" creationId="{D4434A40-30D3-EE61-04E8-383071EB6472}"/>
          </ac:spMkLst>
        </pc:spChg>
        <pc:spChg chg="add del mod ord">
          <ac:chgData name="Ida Damsgaard" userId="8467f980-da15-4d4d-91b0-c43984527464" providerId="ADAL" clId="{0AB7D3AF-A425-4B49-BE15-72F242F07E3C}" dt="2026-03-09T08:15:18.425" v="13351"/>
          <ac:spMkLst>
            <pc:docMk/>
            <pc:sldMk cId="2230902843" sldId="2147374997"/>
            <ac:spMk id="89" creationId="{2FA8C3B6-DCD1-EC06-3CDC-1FA08665A616}"/>
          </ac:spMkLst>
        </pc:spChg>
        <pc:spChg chg="add del mod">
          <ac:chgData name="Ida Damsgaard" userId="8467f980-da15-4d4d-91b0-c43984527464" providerId="ADAL" clId="{0AB7D3AF-A425-4B49-BE15-72F242F07E3C}" dt="2026-03-09T08:15:18.340" v="13258" actId="139"/>
          <ac:spMkLst>
            <pc:docMk/>
            <pc:sldMk cId="2230902843" sldId="2147374997"/>
            <ac:spMk id="90" creationId="{2FA8C3B6-DCD1-EC06-3CDC-1FA08665A616}"/>
          </ac:spMkLst>
        </pc:spChg>
        <pc:spChg chg="add del mod ord">
          <ac:chgData name="Ida Damsgaard" userId="8467f980-da15-4d4d-91b0-c43984527464" providerId="ADAL" clId="{0AB7D3AF-A425-4B49-BE15-72F242F07E3C}" dt="2026-03-09T08:15:18.314" v="13226" actId="139"/>
          <ac:spMkLst>
            <pc:docMk/>
            <pc:sldMk cId="2230902843" sldId="2147374997"/>
            <ac:spMk id="91" creationId="{2FA8C3B6-DCD1-EC06-3CDC-1FA08665A616}"/>
          </ac:spMkLst>
        </pc:spChg>
        <pc:spChg chg="add del mod">
          <ac:chgData name="Ida Damsgaard" userId="8467f980-da15-4d4d-91b0-c43984527464" providerId="ADAL" clId="{0AB7D3AF-A425-4B49-BE15-72F242F07E3C}" dt="2026-03-09T08:15:18.425" v="13351"/>
          <ac:spMkLst>
            <pc:docMk/>
            <pc:sldMk cId="2230902843" sldId="2147374997"/>
            <ac:spMk id="92" creationId="{2FA8C3B6-DCD1-EC06-3CDC-1FA08665A616}"/>
          </ac:spMkLst>
        </pc:spChg>
        <pc:spChg chg="add del mod ord">
          <ac:chgData name="Ida Damsgaard" userId="8467f980-da15-4d4d-91b0-c43984527464" providerId="ADAL" clId="{0AB7D3AF-A425-4B49-BE15-72F242F07E3C}" dt="2026-03-09T08:15:18.266" v="13164" actId="139"/>
          <ac:spMkLst>
            <pc:docMk/>
            <pc:sldMk cId="2230902843" sldId="2147374997"/>
            <ac:spMk id="93" creationId="{2FA8C3B6-DCD1-EC06-3CDC-1FA08665A616}"/>
          </ac:spMkLst>
        </pc:spChg>
        <pc:spChg chg="add del mod">
          <ac:chgData name="Ida Damsgaard" userId="8467f980-da15-4d4d-91b0-c43984527464" providerId="ADAL" clId="{0AB7D3AF-A425-4B49-BE15-72F242F07E3C}" dt="2026-03-09T08:15:18.425" v="13351"/>
          <ac:spMkLst>
            <pc:docMk/>
            <pc:sldMk cId="2230902843" sldId="2147374997"/>
            <ac:spMk id="94" creationId="{2FA8C3B6-DCD1-EC06-3CDC-1FA08665A616}"/>
          </ac:spMkLst>
        </pc:spChg>
        <pc:spChg chg="add del mod ord">
          <ac:chgData name="Ida Damsgaard" userId="8467f980-da15-4d4d-91b0-c43984527464" providerId="ADAL" clId="{0AB7D3AF-A425-4B49-BE15-72F242F07E3C}" dt="2026-03-09T08:15:18.207" v="13102" actId="139"/>
          <ac:spMkLst>
            <pc:docMk/>
            <pc:sldMk cId="2230902843" sldId="2147374997"/>
            <ac:spMk id="95" creationId="{2FA8C3B6-DCD1-EC06-3CDC-1FA08665A616}"/>
          </ac:spMkLst>
        </pc:spChg>
        <pc:spChg chg="add del mod ord">
          <ac:chgData name="Ida Damsgaard" userId="8467f980-da15-4d4d-91b0-c43984527464" providerId="ADAL" clId="{0AB7D3AF-A425-4B49-BE15-72F242F07E3C}" dt="2026-03-09T08:15:18.186" v="13072" actId="139"/>
          <ac:spMkLst>
            <pc:docMk/>
            <pc:sldMk cId="2230902843" sldId="2147374997"/>
            <ac:spMk id="96" creationId="{2FA8C3B6-DCD1-EC06-3CDC-1FA08665A616}"/>
          </ac:spMkLst>
        </pc:spChg>
        <pc:spChg chg="mod ord">
          <ac:chgData name="Ida Damsgaard" userId="8467f980-da15-4d4d-91b0-c43984527464" providerId="ADAL" clId="{0AB7D3AF-A425-4B49-BE15-72F242F07E3C}" dt="2026-03-09T08:19:58.537" v="21390"/>
          <ac:spMkLst>
            <pc:docMk/>
            <pc:sldMk cId="2230902843" sldId="2147374997"/>
            <ac:spMk id="102" creationId="{187B8842-182E-A469-D6B6-ED3B9D7CA37E}"/>
          </ac:spMkLst>
        </pc:spChg>
        <pc:spChg chg="mod ord">
          <ac:chgData name="Ida Damsgaard" userId="8467f980-da15-4d4d-91b0-c43984527464" providerId="ADAL" clId="{0AB7D3AF-A425-4B49-BE15-72F242F07E3C}" dt="2026-03-09T08:19:58.537" v="21394"/>
          <ac:spMkLst>
            <pc:docMk/>
            <pc:sldMk cId="2230902843" sldId="2147374997"/>
            <ac:spMk id="103" creationId="{70C3AC08-426D-E0A1-528F-2D8D88C7A6DB}"/>
          </ac:spMkLst>
        </pc:spChg>
        <pc:spChg chg="mod ord">
          <ac:chgData name="Ida Damsgaard" userId="8467f980-da15-4d4d-91b0-c43984527464" providerId="ADAL" clId="{0AB7D3AF-A425-4B49-BE15-72F242F07E3C}" dt="2026-03-09T08:19:58.537" v="21396"/>
          <ac:spMkLst>
            <pc:docMk/>
            <pc:sldMk cId="2230902843" sldId="2147374997"/>
            <ac:spMk id="104" creationId="{5E0B7333-8DC1-12EE-7CF6-D2A04A421831}"/>
          </ac:spMkLst>
        </pc:spChg>
        <pc:spChg chg="mod ord">
          <ac:chgData name="Ida Damsgaard" userId="8467f980-da15-4d4d-91b0-c43984527464" providerId="ADAL" clId="{0AB7D3AF-A425-4B49-BE15-72F242F07E3C}" dt="2026-03-09T08:19:58.543" v="21402"/>
          <ac:spMkLst>
            <pc:docMk/>
            <pc:sldMk cId="2230902843" sldId="2147374997"/>
            <ac:spMk id="109" creationId="{3A53F551-1D0B-3B71-0393-7B14173694B2}"/>
          </ac:spMkLst>
        </pc:spChg>
        <pc:spChg chg="add del mod ord">
          <ac:chgData name="Ida Damsgaard" userId="8467f980-da15-4d4d-91b0-c43984527464" providerId="ADAL" clId="{0AB7D3AF-A425-4B49-BE15-72F242F07E3C}" dt="2026-03-09T08:15:17.339" v="12837" actId="20577"/>
          <ac:spMkLst>
            <pc:docMk/>
            <pc:sldMk cId="2230902843" sldId="2147374997"/>
            <ac:spMk id="112" creationId="{DECA8CF6-35C3-2923-6C0A-FC4ECA0A7DA6}"/>
          </ac:spMkLst>
        </pc:spChg>
        <pc:spChg chg="add del mod ord">
          <ac:chgData name="Ida Damsgaard" userId="8467f980-da15-4d4d-91b0-c43984527464" providerId="ADAL" clId="{0AB7D3AF-A425-4B49-BE15-72F242F07E3C}" dt="2026-03-09T08:15:17.324" v="12827" actId="20577"/>
          <ac:spMkLst>
            <pc:docMk/>
            <pc:sldMk cId="2230902843" sldId="2147374997"/>
            <ac:spMk id="113" creationId="{4174DC4A-40EA-F1F3-0186-49B8DEA7A3BB}"/>
          </ac:spMkLst>
        </pc:spChg>
        <pc:spChg chg="add del mod modVis">
          <ac:chgData name="Ida Damsgaard" userId="8467f980-da15-4d4d-91b0-c43984527464" providerId="ADAL" clId="{0AB7D3AF-A425-4B49-BE15-72F242F07E3C}" dt="2026-03-09T08:15:17.343" v="12838"/>
          <ac:spMkLst>
            <pc:docMk/>
            <pc:sldMk cId="2230902843" sldId="2147374997"/>
            <ac:spMk id="114" creationId="{3ACC8593-3CB5-25EC-1A6B-74E75E603D48}"/>
          </ac:spMkLst>
        </pc:spChg>
        <pc:spChg chg="add del mod">
          <ac:chgData name="Ida Damsgaard" userId="8467f980-da15-4d4d-91b0-c43984527464" providerId="ADAL" clId="{0AB7D3AF-A425-4B49-BE15-72F242F07E3C}" dt="2026-03-09T08:15:17.265" v="12753" actId="139"/>
          <ac:spMkLst>
            <pc:docMk/>
            <pc:sldMk cId="2230902843" sldId="2147374997"/>
            <ac:spMk id="115" creationId="{2FA8C3B6-DCD1-EC06-3CDC-1FA08665A616}"/>
          </ac:spMkLst>
        </pc:spChg>
        <pc:spChg chg="add del mod">
          <ac:chgData name="Ida Damsgaard" userId="8467f980-da15-4d4d-91b0-c43984527464" providerId="ADAL" clId="{0AB7D3AF-A425-4B49-BE15-72F242F07E3C}" dt="2026-03-09T08:15:17.240" v="12721" actId="139"/>
          <ac:spMkLst>
            <pc:docMk/>
            <pc:sldMk cId="2230902843" sldId="2147374997"/>
            <ac:spMk id="116" creationId="{2FA8C3B6-DCD1-EC06-3CDC-1FA08665A616}"/>
          </ac:spMkLst>
        </pc:spChg>
        <pc:spChg chg="add del mod ord">
          <ac:chgData name="Ida Damsgaard" userId="8467f980-da15-4d4d-91b0-c43984527464" providerId="ADAL" clId="{0AB7D3AF-A425-4B49-BE15-72F242F07E3C}" dt="2026-03-09T08:15:17.218" v="12689" actId="139"/>
          <ac:spMkLst>
            <pc:docMk/>
            <pc:sldMk cId="2230902843" sldId="2147374997"/>
            <ac:spMk id="117" creationId="{2FA8C3B6-DCD1-EC06-3CDC-1FA08665A616}"/>
          </ac:spMkLst>
        </pc:spChg>
        <pc:spChg chg="add del mod">
          <ac:chgData name="Ida Damsgaard" userId="8467f980-da15-4d4d-91b0-c43984527464" providerId="ADAL" clId="{0AB7D3AF-A425-4B49-BE15-72F242F07E3C}" dt="2026-03-09T08:15:17.343" v="12838"/>
          <ac:spMkLst>
            <pc:docMk/>
            <pc:sldMk cId="2230902843" sldId="2147374997"/>
            <ac:spMk id="118" creationId="{2FA8C3B6-DCD1-EC06-3CDC-1FA08665A616}"/>
          </ac:spMkLst>
        </pc:spChg>
        <pc:spChg chg="add del mod">
          <ac:chgData name="Ida Damsgaard" userId="8467f980-da15-4d4d-91b0-c43984527464" providerId="ADAL" clId="{0AB7D3AF-A425-4B49-BE15-72F242F07E3C}" dt="2026-03-09T08:15:17.172" v="12625" actId="139"/>
          <ac:spMkLst>
            <pc:docMk/>
            <pc:sldMk cId="2230902843" sldId="2147374997"/>
            <ac:spMk id="119" creationId="{2FA8C3B6-DCD1-EC06-3CDC-1FA08665A616}"/>
          </ac:spMkLst>
        </pc:spChg>
        <pc:spChg chg="add del mod ord">
          <ac:chgData name="Ida Damsgaard" userId="8467f980-da15-4d4d-91b0-c43984527464" providerId="ADAL" clId="{0AB7D3AF-A425-4B49-BE15-72F242F07E3C}" dt="2026-03-09T08:15:17.145" v="12593" actId="139"/>
          <ac:spMkLst>
            <pc:docMk/>
            <pc:sldMk cId="2230902843" sldId="2147374997"/>
            <ac:spMk id="120" creationId="{2FA8C3B6-DCD1-EC06-3CDC-1FA08665A616}"/>
          </ac:spMkLst>
        </pc:spChg>
        <pc:spChg chg="add del mod ord">
          <ac:chgData name="Ida Damsgaard" userId="8467f980-da15-4d4d-91b0-c43984527464" providerId="ADAL" clId="{0AB7D3AF-A425-4B49-BE15-72F242F07E3C}" dt="2026-03-09T08:15:17.124" v="12563" actId="139"/>
          <ac:spMkLst>
            <pc:docMk/>
            <pc:sldMk cId="2230902843" sldId="2147374997"/>
            <ac:spMk id="121" creationId="{2FA8C3B6-DCD1-EC06-3CDC-1FA08665A616}"/>
          </ac:spMkLst>
        </pc:spChg>
        <pc:spChg chg="add del mod ord">
          <ac:chgData name="Ida Damsgaard" userId="8467f980-da15-4d4d-91b0-c43984527464" providerId="ADAL" clId="{0AB7D3AF-A425-4B49-BE15-72F242F07E3C}" dt="2026-03-09T08:15:17.104" v="12531" actId="139"/>
          <ac:spMkLst>
            <pc:docMk/>
            <pc:sldMk cId="2230902843" sldId="2147374997"/>
            <ac:spMk id="122" creationId="{2FA8C3B6-DCD1-EC06-3CDC-1FA08665A616}"/>
          </ac:spMkLst>
        </pc:spChg>
        <pc:spChg chg="add del mod">
          <ac:chgData name="Ida Damsgaard" userId="8467f980-da15-4d4d-91b0-c43984527464" providerId="ADAL" clId="{0AB7D3AF-A425-4B49-BE15-72F242F07E3C}" dt="2026-03-09T08:15:17.082" v="12499" actId="139"/>
          <ac:spMkLst>
            <pc:docMk/>
            <pc:sldMk cId="2230902843" sldId="2147374997"/>
            <ac:spMk id="123" creationId="{2FA8C3B6-DCD1-EC06-3CDC-1FA08665A616}"/>
          </ac:spMkLst>
        </pc:spChg>
        <pc:spChg chg="add del mod">
          <ac:chgData name="Ida Damsgaard" userId="8467f980-da15-4d4d-91b0-c43984527464" providerId="ADAL" clId="{0AB7D3AF-A425-4B49-BE15-72F242F07E3C}" dt="2026-03-09T08:15:17.060" v="12467" actId="139"/>
          <ac:spMkLst>
            <pc:docMk/>
            <pc:sldMk cId="2230902843" sldId="2147374997"/>
            <ac:spMk id="124" creationId="{2FA8C3B6-DCD1-EC06-3CDC-1FA08665A616}"/>
          </ac:spMkLst>
        </pc:spChg>
        <pc:spChg chg="mod ord">
          <ac:chgData name="Ida Damsgaard" userId="8467f980-da15-4d4d-91b0-c43984527464" providerId="ADAL" clId="{0AB7D3AF-A425-4B49-BE15-72F242F07E3C}" dt="2026-03-09T08:19:58.537" v="21400"/>
          <ac:spMkLst>
            <pc:docMk/>
            <pc:sldMk cId="2230902843" sldId="2147374997"/>
            <ac:spMk id="125" creationId="{FA576C29-949B-D60A-CCE7-5F1747326BD7}"/>
          </ac:spMkLst>
        </pc:spChg>
        <pc:spChg chg="add del mod">
          <ac:chgData name="Ida Damsgaard" userId="8467f980-da15-4d4d-91b0-c43984527464" providerId="ADAL" clId="{0AB7D3AF-A425-4B49-BE15-72F242F07E3C}" dt="2026-03-09T08:15:17.039" v="12435" actId="139"/>
          <ac:spMkLst>
            <pc:docMk/>
            <pc:sldMk cId="2230902843" sldId="2147374997"/>
            <ac:spMk id="126" creationId="{2FA8C3B6-DCD1-EC06-3CDC-1FA08665A616}"/>
          </ac:spMkLst>
        </pc:spChg>
        <pc:spChg chg="add del mod modVis">
          <ac:chgData name="Ida Damsgaard" userId="8467f980-da15-4d4d-91b0-c43984527464" providerId="ADAL" clId="{0AB7D3AF-A425-4B49-BE15-72F242F07E3C}" dt="2026-03-09T08:15:16.230" v="12119" actId="962"/>
          <ac:spMkLst>
            <pc:docMk/>
            <pc:sldMk cId="2230902843" sldId="2147374997"/>
            <ac:spMk id="141" creationId="{7727180E-CDE6-F3DC-68DC-292572DF7BE0}"/>
          </ac:spMkLst>
        </pc:spChg>
        <pc:spChg chg="add del mod ord">
          <ac:chgData name="Ida Damsgaard" userId="8467f980-da15-4d4d-91b0-c43984527464" providerId="ADAL" clId="{0AB7D3AF-A425-4B49-BE15-72F242F07E3C}" dt="2026-03-09T08:15:16.193" v="12091" actId="139"/>
          <ac:spMkLst>
            <pc:docMk/>
            <pc:sldMk cId="2230902843" sldId="2147374997"/>
            <ac:spMk id="142" creationId="{2FA8C3B6-DCD1-EC06-3CDC-1FA08665A616}"/>
          </ac:spMkLst>
        </pc:spChg>
        <pc:spChg chg="mod ord">
          <ac:chgData name="Ida Damsgaard" userId="8467f980-da15-4d4d-91b0-c43984527464" providerId="ADAL" clId="{0AB7D3AF-A425-4B49-BE15-72F242F07E3C}" dt="2026-03-09T08:19:58.537" v="21386"/>
          <ac:spMkLst>
            <pc:docMk/>
            <pc:sldMk cId="2230902843" sldId="2147374997"/>
            <ac:spMk id="143" creationId="{4929ADFF-E7FE-8C21-1490-49A6DBA3A835}"/>
          </ac:spMkLst>
        </pc:spChg>
        <pc:spChg chg="add del mod ord">
          <ac:chgData name="Ida Damsgaard" userId="8467f980-da15-4d4d-91b0-c43984527464" providerId="ADAL" clId="{0AB7D3AF-A425-4B49-BE15-72F242F07E3C}" dt="2026-03-09T08:15:16.177" v="12059" actId="139"/>
          <ac:spMkLst>
            <pc:docMk/>
            <pc:sldMk cId="2230902843" sldId="2147374997"/>
            <ac:spMk id="144" creationId="{2FA8C3B6-DCD1-EC06-3CDC-1FA08665A616}"/>
          </ac:spMkLst>
        </pc:spChg>
        <pc:spChg chg="add del mod ord">
          <ac:chgData name="Ida Damsgaard" userId="8467f980-da15-4d4d-91b0-c43984527464" providerId="ADAL" clId="{0AB7D3AF-A425-4B49-BE15-72F242F07E3C}" dt="2026-03-09T08:15:16.166" v="12027" actId="139"/>
          <ac:spMkLst>
            <pc:docMk/>
            <pc:sldMk cId="2230902843" sldId="2147374997"/>
            <ac:spMk id="145" creationId="{2FA8C3B6-DCD1-EC06-3CDC-1FA08665A616}"/>
          </ac:spMkLst>
        </pc:spChg>
        <pc:spChg chg="add del mod ord">
          <ac:chgData name="Ida Damsgaard" userId="8467f980-da15-4d4d-91b0-c43984527464" providerId="ADAL" clId="{0AB7D3AF-A425-4B49-BE15-72F242F07E3C}" dt="2026-03-09T08:15:15.561" v="11851" actId="20577"/>
          <ac:spMkLst>
            <pc:docMk/>
            <pc:sldMk cId="2230902843" sldId="2147374997"/>
            <ac:spMk id="147" creationId="{1D5C490A-A4B1-0D5C-19E6-21102ED2609A}"/>
          </ac:spMkLst>
        </pc:spChg>
        <pc:spChg chg="add del mod ord">
          <ac:chgData name="Ida Damsgaard" userId="8467f980-da15-4d4d-91b0-c43984527464" providerId="ADAL" clId="{0AB7D3AF-A425-4B49-BE15-72F242F07E3C}" dt="2026-03-09T08:15:15.545" v="11841" actId="20577"/>
          <ac:spMkLst>
            <pc:docMk/>
            <pc:sldMk cId="2230902843" sldId="2147374997"/>
            <ac:spMk id="148" creationId="{1C9EEE98-E4E6-E9E5-6BF1-0A2C4DCDAEDB}"/>
          </ac:spMkLst>
        </pc:spChg>
        <pc:spChg chg="add del mod modVis">
          <ac:chgData name="Ida Damsgaard" userId="8467f980-da15-4d4d-91b0-c43984527464" providerId="ADAL" clId="{0AB7D3AF-A425-4B49-BE15-72F242F07E3C}" dt="2026-03-09T08:15:15.561" v="11852"/>
          <ac:spMkLst>
            <pc:docMk/>
            <pc:sldMk cId="2230902843" sldId="2147374997"/>
            <ac:spMk id="149" creationId="{8C2C1D7C-88C0-54DF-0EA0-70B64C435C8E}"/>
          </ac:spMkLst>
        </pc:spChg>
        <pc:spChg chg="add del mod">
          <ac:chgData name="Ida Damsgaard" userId="8467f980-da15-4d4d-91b0-c43984527464" providerId="ADAL" clId="{0AB7D3AF-A425-4B49-BE15-72F242F07E3C}" dt="2026-03-09T08:15:15.486" v="11767" actId="139"/>
          <ac:spMkLst>
            <pc:docMk/>
            <pc:sldMk cId="2230902843" sldId="2147374997"/>
            <ac:spMk id="150" creationId="{2FA8C3B6-DCD1-EC06-3CDC-1FA08665A616}"/>
          </ac:spMkLst>
        </pc:spChg>
        <pc:spChg chg="add del mod">
          <ac:chgData name="Ida Damsgaard" userId="8467f980-da15-4d4d-91b0-c43984527464" providerId="ADAL" clId="{0AB7D3AF-A425-4B49-BE15-72F242F07E3C}" dt="2026-03-09T08:15:15.462" v="11735" actId="139"/>
          <ac:spMkLst>
            <pc:docMk/>
            <pc:sldMk cId="2230902843" sldId="2147374997"/>
            <ac:spMk id="151" creationId="{2FA8C3B6-DCD1-EC06-3CDC-1FA08665A616}"/>
          </ac:spMkLst>
        </pc:spChg>
        <pc:spChg chg="add del mod ord">
          <ac:chgData name="Ida Damsgaard" userId="8467f980-da15-4d4d-91b0-c43984527464" providerId="ADAL" clId="{0AB7D3AF-A425-4B49-BE15-72F242F07E3C}" dt="2026-03-09T08:15:15.434" v="11703" actId="139"/>
          <ac:spMkLst>
            <pc:docMk/>
            <pc:sldMk cId="2230902843" sldId="2147374997"/>
            <ac:spMk id="152" creationId="{2FA8C3B6-DCD1-EC06-3CDC-1FA08665A616}"/>
          </ac:spMkLst>
        </pc:spChg>
        <pc:spChg chg="add del mod">
          <ac:chgData name="Ida Damsgaard" userId="8467f980-da15-4d4d-91b0-c43984527464" providerId="ADAL" clId="{0AB7D3AF-A425-4B49-BE15-72F242F07E3C}" dt="2026-03-09T08:15:15.561" v="11852"/>
          <ac:spMkLst>
            <pc:docMk/>
            <pc:sldMk cId="2230902843" sldId="2147374997"/>
            <ac:spMk id="153" creationId="{2FA8C3B6-DCD1-EC06-3CDC-1FA08665A616}"/>
          </ac:spMkLst>
        </pc:spChg>
        <pc:spChg chg="add del mod">
          <ac:chgData name="Ida Damsgaard" userId="8467f980-da15-4d4d-91b0-c43984527464" providerId="ADAL" clId="{0AB7D3AF-A425-4B49-BE15-72F242F07E3C}" dt="2026-03-09T08:15:15.398" v="11639" actId="139"/>
          <ac:spMkLst>
            <pc:docMk/>
            <pc:sldMk cId="2230902843" sldId="2147374997"/>
            <ac:spMk id="154" creationId="{2FA8C3B6-DCD1-EC06-3CDC-1FA08665A616}"/>
          </ac:spMkLst>
        </pc:spChg>
        <pc:spChg chg="add del mod ord">
          <ac:chgData name="Ida Damsgaard" userId="8467f980-da15-4d4d-91b0-c43984527464" providerId="ADAL" clId="{0AB7D3AF-A425-4B49-BE15-72F242F07E3C}" dt="2026-03-09T08:15:15.379" v="11607" actId="139"/>
          <ac:spMkLst>
            <pc:docMk/>
            <pc:sldMk cId="2230902843" sldId="2147374997"/>
            <ac:spMk id="155" creationId="{2FA8C3B6-DCD1-EC06-3CDC-1FA08665A616}"/>
          </ac:spMkLst>
        </pc:spChg>
        <pc:spChg chg="add del mod ord">
          <ac:chgData name="Ida Damsgaard" userId="8467f980-da15-4d4d-91b0-c43984527464" providerId="ADAL" clId="{0AB7D3AF-A425-4B49-BE15-72F242F07E3C}" dt="2026-03-09T08:15:15.355" v="11575" actId="139"/>
          <ac:spMkLst>
            <pc:docMk/>
            <pc:sldMk cId="2230902843" sldId="2147374997"/>
            <ac:spMk id="156" creationId="{2FA8C3B6-DCD1-EC06-3CDC-1FA08665A616}"/>
          </ac:spMkLst>
        </pc:spChg>
        <pc:spChg chg="add del mod ord">
          <ac:chgData name="Ida Damsgaard" userId="8467f980-da15-4d4d-91b0-c43984527464" providerId="ADAL" clId="{0AB7D3AF-A425-4B49-BE15-72F242F07E3C}" dt="2026-03-09T08:15:15.561" v="11852"/>
          <ac:spMkLst>
            <pc:docMk/>
            <pc:sldMk cId="2230902843" sldId="2147374997"/>
            <ac:spMk id="157" creationId="{2FA8C3B6-DCD1-EC06-3CDC-1FA08665A616}"/>
          </ac:spMkLst>
        </pc:spChg>
        <pc:spChg chg="add del mod">
          <ac:chgData name="Ida Damsgaard" userId="8467f980-da15-4d4d-91b0-c43984527464" providerId="ADAL" clId="{0AB7D3AF-A425-4B49-BE15-72F242F07E3C}" dt="2026-03-09T08:15:15.315" v="11511" actId="139"/>
          <ac:spMkLst>
            <pc:docMk/>
            <pc:sldMk cId="2230902843" sldId="2147374997"/>
            <ac:spMk id="158" creationId="{2FA8C3B6-DCD1-EC06-3CDC-1FA08665A616}"/>
          </ac:spMkLst>
        </pc:spChg>
        <pc:spChg chg="add del mod">
          <ac:chgData name="Ida Damsgaard" userId="8467f980-da15-4d4d-91b0-c43984527464" providerId="ADAL" clId="{0AB7D3AF-A425-4B49-BE15-72F242F07E3C}" dt="2026-03-09T08:15:15.294" v="11479" actId="139"/>
          <ac:spMkLst>
            <pc:docMk/>
            <pc:sldMk cId="2230902843" sldId="2147374997"/>
            <ac:spMk id="159" creationId="{2FA8C3B6-DCD1-EC06-3CDC-1FA08665A616}"/>
          </ac:spMkLst>
        </pc:spChg>
        <pc:spChg chg="add del mod">
          <ac:chgData name="Ida Damsgaard" userId="8467f980-da15-4d4d-91b0-c43984527464" providerId="ADAL" clId="{0AB7D3AF-A425-4B49-BE15-72F242F07E3C}" dt="2026-03-09T08:15:15.262" v="11447" actId="139"/>
          <ac:spMkLst>
            <pc:docMk/>
            <pc:sldMk cId="2230902843" sldId="2147374997"/>
            <ac:spMk id="160" creationId="{2FA8C3B6-DCD1-EC06-3CDC-1FA08665A616}"/>
          </ac:spMkLst>
        </pc:spChg>
        <pc:spChg chg="add del mod modVis">
          <ac:chgData name="Ida Damsgaard" userId="8467f980-da15-4d4d-91b0-c43984527464" providerId="ADAL" clId="{0AB7D3AF-A425-4B49-BE15-72F242F07E3C}" dt="2026-03-09T08:15:15.007" v="11106" actId="962"/>
          <ac:spMkLst>
            <pc:docMk/>
            <pc:sldMk cId="2230902843" sldId="2147374997"/>
            <ac:spMk id="175" creationId="{256E7BA1-0F31-17C6-9F55-670EDF4FAE05}"/>
          </ac:spMkLst>
        </pc:spChg>
        <pc:spChg chg="add del mod ord">
          <ac:chgData name="Ida Damsgaard" userId="8467f980-da15-4d4d-91b0-c43984527464" providerId="ADAL" clId="{0AB7D3AF-A425-4B49-BE15-72F242F07E3C}" dt="2026-03-09T08:15:14.964" v="11043" actId="139"/>
          <ac:spMkLst>
            <pc:docMk/>
            <pc:sldMk cId="2230902843" sldId="2147374997"/>
            <ac:spMk id="176" creationId="{2FA8C3B6-DCD1-EC06-3CDC-1FA08665A616}"/>
          </ac:spMkLst>
        </pc:spChg>
        <pc:spChg chg="add del mod ord">
          <ac:chgData name="Ida Damsgaard" userId="8467f980-da15-4d4d-91b0-c43984527464" providerId="ADAL" clId="{0AB7D3AF-A425-4B49-BE15-72F242F07E3C}" dt="2026-03-09T08:15:14.944" v="11011" actId="139"/>
          <ac:spMkLst>
            <pc:docMk/>
            <pc:sldMk cId="2230902843" sldId="2147374997"/>
            <ac:spMk id="177" creationId="{2FA8C3B6-DCD1-EC06-3CDC-1FA08665A616}"/>
          </ac:spMkLst>
        </pc:spChg>
        <pc:spChg chg="add del mod ord">
          <ac:chgData name="Ida Damsgaard" userId="8467f980-da15-4d4d-91b0-c43984527464" providerId="ADAL" clId="{0AB7D3AF-A425-4B49-BE15-72F242F07E3C}" dt="2026-03-09T08:15:14.932" v="10981" actId="139"/>
          <ac:spMkLst>
            <pc:docMk/>
            <pc:sldMk cId="2230902843" sldId="2147374997"/>
            <ac:spMk id="178" creationId="{2FA8C3B6-DCD1-EC06-3CDC-1FA08665A616}"/>
          </ac:spMkLst>
        </pc:spChg>
        <pc:spChg chg="add del mod ord">
          <ac:chgData name="Ida Damsgaard" userId="8467f980-da15-4d4d-91b0-c43984527464" providerId="ADAL" clId="{0AB7D3AF-A425-4B49-BE15-72F242F07E3C}" dt="2026-03-09T08:15:14.913" v="10949" actId="139"/>
          <ac:spMkLst>
            <pc:docMk/>
            <pc:sldMk cId="2230902843" sldId="2147374997"/>
            <ac:spMk id="179" creationId="{2FA8C3B6-DCD1-EC06-3CDC-1FA08665A616}"/>
          </ac:spMkLst>
        </pc:spChg>
        <pc:spChg chg="add del mod ord">
          <ac:chgData name="Ida Damsgaard" userId="8467f980-da15-4d4d-91b0-c43984527464" providerId="ADAL" clId="{0AB7D3AF-A425-4B49-BE15-72F242F07E3C}" dt="2026-03-09T08:15:14.891" v="10919" actId="139"/>
          <ac:spMkLst>
            <pc:docMk/>
            <pc:sldMk cId="2230902843" sldId="2147374997"/>
            <ac:spMk id="180" creationId="{2FA8C3B6-DCD1-EC06-3CDC-1FA08665A616}"/>
          </ac:spMkLst>
        </pc:spChg>
        <pc:spChg chg="add del mod ord">
          <ac:chgData name="Ida Damsgaard" userId="8467f980-da15-4d4d-91b0-c43984527464" providerId="ADAL" clId="{0AB7D3AF-A425-4B49-BE15-72F242F07E3C}" dt="2026-03-09T08:15:14.875" v="10887" actId="139"/>
          <ac:spMkLst>
            <pc:docMk/>
            <pc:sldMk cId="2230902843" sldId="2147374997"/>
            <ac:spMk id="181" creationId="{2FA8C3B6-DCD1-EC06-3CDC-1FA08665A616}"/>
          </ac:spMkLst>
        </pc:spChg>
        <pc:spChg chg="add del mod ord">
          <ac:chgData name="Ida Damsgaard" userId="8467f980-da15-4d4d-91b0-c43984527464" providerId="ADAL" clId="{0AB7D3AF-A425-4B49-BE15-72F242F07E3C}" dt="2026-03-09T08:15:14.855" v="10857" actId="139"/>
          <ac:spMkLst>
            <pc:docMk/>
            <pc:sldMk cId="2230902843" sldId="2147374997"/>
            <ac:spMk id="182" creationId="{2FA8C3B6-DCD1-EC06-3CDC-1FA08665A616}"/>
          </ac:spMkLst>
        </pc:spChg>
        <pc:spChg chg="add del mod ord">
          <ac:chgData name="Ida Damsgaard" userId="8467f980-da15-4d4d-91b0-c43984527464" providerId="ADAL" clId="{0AB7D3AF-A425-4B49-BE15-72F242F07E3C}" dt="2026-03-09T08:15:14.836" v="10825" actId="139"/>
          <ac:spMkLst>
            <pc:docMk/>
            <pc:sldMk cId="2230902843" sldId="2147374997"/>
            <ac:spMk id="183" creationId="{2FA8C3B6-DCD1-EC06-3CDC-1FA08665A616}"/>
          </ac:spMkLst>
        </pc:spChg>
        <pc:spChg chg="add del mod modVis">
          <ac:chgData name="Ida Damsgaard" userId="8467f980-da15-4d4d-91b0-c43984527464" providerId="ADAL" clId="{0AB7D3AF-A425-4B49-BE15-72F242F07E3C}" dt="2026-03-09T08:15:13.893" v="10570" actId="962"/>
          <ac:spMkLst>
            <pc:docMk/>
            <pc:sldMk cId="2230902843" sldId="2147374997"/>
            <ac:spMk id="185" creationId="{4283ACF3-33FA-9782-ECEE-20DCA526A684}"/>
          </ac:spMkLst>
        </pc:spChg>
        <pc:spChg chg="add del mod modVis">
          <ac:chgData name="Ida Damsgaard" userId="8467f980-da15-4d4d-91b0-c43984527464" providerId="ADAL" clId="{0AB7D3AF-A425-4B49-BE15-72F242F07E3C}" dt="2026-03-09T08:15:36.581" v="14590"/>
          <ac:spMkLst>
            <pc:docMk/>
            <pc:sldMk cId="2230902843" sldId="2147374997"/>
            <ac:spMk id="189" creationId="{A24D2780-9FE7-F3A5-935E-6F076845217C}"/>
          </ac:spMkLst>
        </pc:spChg>
        <pc:spChg chg="add del mod modVis">
          <ac:chgData name="Ida Damsgaard" userId="8467f980-da15-4d4d-91b0-c43984527464" providerId="ADAL" clId="{0AB7D3AF-A425-4B49-BE15-72F242F07E3C}" dt="2026-03-09T08:15:43.166" v="14877"/>
          <ac:spMkLst>
            <pc:docMk/>
            <pc:sldMk cId="2230902843" sldId="2147374997"/>
            <ac:spMk id="191" creationId="{C4E8CA09-5DD6-7A40-C04A-F1D28554E937}"/>
          </ac:spMkLst>
        </pc:spChg>
        <pc:spChg chg="add mod">
          <ac:chgData name="Ida Damsgaard" userId="8467f980-da15-4d4d-91b0-c43984527464" providerId="ADAL" clId="{0AB7D3AF-A425-4B49-BE15-72F242F07E3C}" dt="2026-03-09T08:16:11.916" v="15887" actId="139"/>
          <ac:spMkLst>
            <pc:docMk/>
            <pc:sldMk cId="2230902843" sldId="2147374997"/>
            <ac:spMk id="193" creationId="{2FA8C3B6-DCD1-EC06-3CDC-1FA08665A616}"/>
          </ac:spMkLst>
        </pc:spChg>
        <pc:spChg chg="add del mod modVis">
          <ac:chgData name="Ida Damsgaard" userId="8467f980-da15-4d4d-91b0-c43984527464" providerId="ADAL" clId="{0AB7D3AF-A425-4B49-BE15-72F242F07E3C}" dt="2026-03-09T08:16:11.892" v="15861" actId="962"/>
          <ac:spMkLst>
            <pc:docMk/>
            <pc:sldMk cId="2230902843" sldId="2147374997"/>
            <ac:spMk id="194" creationId="{ACDA9AD2-3791-CD0A-88B0-0E9B01669789}"/>
          </ac:spMkLst>
        </pc:spChg>
        <pc:spChg chg="add mod">
          <ac:chgData name="Ida Damsgaard" userId="8467f980-da15-4d4d-91b0-c43984527464" providerId="ADAL" clId="{0AB7D3AF-A425-4B49-BE15-72F242F07E3C}" dt="2026-03-09T08:16:11.876" v="15850" actId="139"/>
          <ac:spMkLst>
            <pc:docMk/>
            <pc:sldMk cId="2230902843" sldId="2147374997"/>
            <ac:spMk id="195" creationId="{2FA8C3B6-DCD1-EC06-3CDC-1FA08665A616}"/>
          </ac:spMkLst>
        </pc:spChg>
        <pc:spChg chg="add mod">
          <ac:chgData name="Ida Damsgaard" userId="8467f980-da15-4d4d-91b0-c43984527464" providerId="ADAL" clId="{0AB7D3AF-A425-4B49-BE15-72F242F07E3C}" dt="2026-03-09T08:16:11.860" v="15821" actId="139"/>
          <ac:spMkLst>
            <pc:docMk/>
            <pc:sldMk cId="2230902843" sldId="2147374997"/>
            <ac:spMk id="196" creationId="{2FA8C3B6-DCD1-EC06-3CDC-1FA08665A616}"/>
          </ac:spMkLst>
        </pc:spChg>
        <pc:spChg chg="add mod">
          <ac:chgData name="Ida Damsgaard" userId="8467f980-da15-4d4d-91b0-c43984527464" providerId="ADAL" clId="{0AB7D3AF-A425-4B49-BE15-72F242F07E3C}" dt="2026-03-09T08:16:11.846" v="15793" actId="139"/>
          <ac:spMkLst>
            <pc:docMk/>
            <pc:sldMk cId="2230902843" sldId="2147374997"/>
            <ac:spMk id="197" creationId="{2FA8C3B6-DCD1-EC06-3CDC-1FA08665A616}"/>
          </ac:spMkLst>
        </pc:spChg>
        <pc:spChg chg="add mod">
          <ac:chgData name="Ida Damsgaard" userId="8467f980-da15-4d4d-91b0-c43984527464" providerId="ADAL" clId="{0AB7D3AF-A425-4B49-BE15-72F242F07E3C}" dt="2026-03-09T08:16:11.916" v="15888"/>
          <ac:spMkLst>
            <pc:docMk/>
            <pc:sldMk cId="2230902843" sldId="2147374997"/>
            <ac:spMk id="198" creationId="{2FA8C3B6-DCD1-EC06-3CDC-1FA08665A616}"/>
          </ac:spMkLst>
        </pc:spChg>
        <pc:spChg chg="add mod">
          <ac:chgData name="Ida Damsgaard" userId="8467f980-da15-4d4d-91b0-c43984527464" providerId="ADAL" clId="{0AB7D3AF-A425-4B49-BE15-72F242F07E3C}" dt="2026-03-09T08:16:11.916" v="15888"/>
          <ac:spMkLst>
            <pc:docMk/>
            <pc:sldMk cId="2230902843" sldId="2147374997"/>
            <ac:spMk id="199" creationId="{2FA8C3B6-DCD1-EC06-3CDC-1FA08665A616}"/>
          </ac:spMkLst>
        </pc:spChg>
        <pc:spChg chg="add mod">
          <ac:chgData name="Ida Damsgaard" userId="8467f980-da15-4d4d-91b0-c43984527464" providerId="ADAL" clId="{0AB7D3AF-A425-4B49-BE15-72F242F07E3C}" dt="2026-03-09T08:16:11.916" v="15888"/>
          <ac:spMkLst>
            <pc:docMk/>
            <pc:sldMk cId="2230902843" sldId="2147374997"/>
            <ac:spMk id="200" creationId="{2FA8C3B6-DCD1-EC06-3CDC-1FA08665A616}"/>
          </ac:spMkLst>
        </pc:spChg>
        <pc:spChg chg="add mod">
          <ac:chgData name="Ida Damsgaard" userId="8467f980-da15-4d4d-91b0-c43984527464" providerId="ADAL" clId="{0AB7D3AF-A425-4B49-BE15-72F242F07E3C}" dt="2026-03-09T08:16:11.769" v="15681" actId="139"/>
          <ac:spMkLst>
            <pc:docMk/>
            <pc:sldMk cId="2230902843" sldId="2147374997"/>
            <ac:spMk id="201" creationId="{2FA8C3B6-DCD1-EC06-3CDC-1FA08665A616}"/>
          </ac:spMkLst>
        </pc:spChg>
        <pc:spChg chg="add mod">
          <ac:chgData name="Ida Damsgaard" userId="8467f980-da15-4d4d-91b0-c43984527464" providerId="ADAL" clId="{0AB7D3AF-A425-4B49-BE15-72F242F07E3C}" dt="2026-03-09T08:16:11.748" v="15652" actId="139"/>
          <ac:spMkLst>
            <pc:docMk/>
            <pc:sldMk cId="2230902843" sldId="2147374997"/>
            <ac:spMk id="202" creationId="{2FA8C3B6-DCD1-EC06-3CDC-1FA08665A616}"/>
          </ac:spMkLst>
        </pc:spChg>
        <pc:spChg chg="del mod">
          <ac:chgData name="Ida Damsgaard" userId="8467f980-da15-4d4d-91b0-c43984527464" providerId="ADAL" clId="{0AB7D3AF-A425-4B49-BE15-72F242F07E3C}" dt="2026-03-09T08:19:00.154" v="17293"/>
          <ac:spMkLst>
            <pc:docMk/>
            <pc:sldMk cId="2230902843" sldId="2147374997"/>
            <ac:spMk id="203" creationId="{2FA8C3B6-DCD1-EC06-3CDC-1FA08665A616}"/>
          </ac:spMkLst>
        </pc:spChg>
        <pc:spChg chg="add mod">
          <ac:chgData name="Ida Damsgaard" userId="8467f980-da15-4d4d-91b0-c43984527464" providerId="ADAL" clId="{0AB7D3AF-A425-4B49-BE15-72F242F07E3C}" dt="2026-03-09T08:16:11.725" v="15624" actId="139"/>
          <ac:spMkLst>
            <pc:docMk/>
            <pc:sldMk cId="2230902843" sldId="2147374997"/>
            <ac:spMk id="204" creationId="{2FA8C3B6-DCD1-EC06-3CDC-1FA08665A616}"/>
          </ac:spMkLst>
        </pc:spChg>
        <pc:spChg chg="add del mod modVis">
          <ac:chgData name="Ida Damsgaard" userId="8467f980-da15-4d4d-91b0-c43984527464" providerId="ADAL" clId="{0AB7D3AF-A425-4B49-BE15-72F242F07E3C}" dt="2026-03-09T08:18:12.198" v="16105"/>
          <ac:spMkLst>
            <pc:docMk/>
            <pc:sldMk cId="2230902843" sldId="2147374997"/>
            <ac:spMk id="206" creationId="{D4F4EBD6-9DC8-982A-9A0A-5575BEA6DBBA}"/>
          </ac:spMkLst>
        </pc:spChg>
        <pc:spChg chg="add del mod modVis">
          <ac:chgData name="Ida Damsgaard" userId="8467f980-da15-4d4d-91b0-c43984527464" providerId="ADAL" clId="{0AB7D3AF-A425-4B49-BE15-72F242F07E3C}" dt="2026-03-09T08:18:28.844" v="16694" actId="962"/>
          <ac:spMkLst>
            <pc:docMk/>
            <pc:sldMk cId="2230902843" sldId="2147374997"/>
            <ac:spMk id="210" creationId="{5B997F47-F1E1-1343-1040-16A33C48B674}"/>
          </ac:spMkLst>
        </pc:spChg>
        <pc:spChg chg="add del mod modVis">
          <ac:chgData name="Ida Damsgaard" userId="8467f980-da15-4d4d-91b0-c43984527464" providerId="ADAL" clId="{0AB7D3AF-A425-4B49-BE15-72F242F07E3C}" dt="2026-03-09T08:18:45.454" v="17004"/>
          <ac:spMkLst>
            <pc:docMk/>
            <pc:sldMk cId="2230902843" sldId="2147374997"/>
            <ac:spMk id="212" creationId="{CAA759C2-5E7A-B419-B3C2-342A4ABAAA6D}"/>
          </ac:spMkLst>
        </pc:spChg>
        <pc:spChg chg="del mod">
          <ac:chgData name="Ida Damsgaard" userId="8467f980-da15-4d4d-91b0-c43984527464" providerId="ADAL" clId="{0AB7D3AF-A425-4B49-BE15-72F242F07E3C}" dt="2026-03-09T08:19:00.152" v="17292"/>
          <ac:spMkLst>
            <pc:docMk/>
            <pc:sldMk cId="2230902843" sldId="2147374997"/>
            <ac:spMk id="214" creationId="{2FA8C3B6-DCD1-EC06-3CDC-1FA08665A616}"/>
          </ac:spMkLst>
        </pc:spChg>
        <pc:spChg chg="add del mod">
          <ac:chgData name="Ida Damsgaard" userId="8467f980-da15-4d4d-91b0-c43984527464" providerId="ADAL" clId="{0AB7D3AF-A425-4B49-BE15-72F242F07E3C}" dt="2026-03-09T08:19:00.154" v="17294"/>
          <ac:spMkLst>
            <pc:docMk/>
            <pc:sldMk cId="2230902843" sldId="2147374997"/>
            <ac:spMk id="215" creationId="{2FA8C3B6-DCD1-EC06-3CDC-1FA08665A616}"/>
          </ac:spMkLst>
        </pc:spChg>
        <pc:spChg chg="del mod">
          <ac:chgData name="Ida Damsgaard" userId="8467f980-da15-4d4d-91b0-c43984527464" providerId="ADAL" clId="{0AB7D3AF-A425-4B49-BE15-72F242F07E3C}" dt="2026-03-09T08:19:00.154" v="17295"/>
          <ac:spMkLst>
            <pc:docMk/>
            <pc:sldMk cId="2230902843" sldId="2147374997"/>
            <ac:spMk id="216" creationId="{2FA8C3B6-DCD1-EC06-3CDC-1FA08665A616}"/>
          </ac:spMkLst>
        </pc:spChg>
        <pc:spChg chg="add del mod">
          <ac:chgData name="Ida Damsgaard" userId="8467f980-da15-4d4d-91b0-c43984527464" providerId="ADAL" clId="{0AB7D3AF-A425-4B49-BE15-72F242F07E3C}" dt="2026-03-09T08:19:00.154" v="17296"/>
          <ac:spMkLst>
            <pc:docMk/>
            <pc:sldMk cId="2230902843" sldId="2147374997"/>
            <ac:spMk id="217" creationId="{2FA8C3B6-DCD1-EC06-3CDC-1FA08665A616}"/>
          </ac:spMkLst>
        </pc:spChg>
        <pc:spChg chg="add del mod">
          <ac:chgData name="Ida Damsgaard" userId="8467f980-da15-4d4d-91b0-c43984527464" providerId="ADAL" clId="{0AB7D3AF-A425-4B49-BE15-72F242F07E3C}" dt="2026-03-09T08:19:00.156" v="17297"/>
          <ac:spMkLst>
            <pc:docMk/>
            <pc:sldMk cId="2230902843" sldId="2147374997"/>
            <ac:spMk id="218" creationId="{2FA8C3B6-DCD1-EC06-3CDC-1FA08665A616}"/>
          </ac:spMkLst>
        </pc:spChg>
        <pc:spChg chg="del mod">
          <ac:chgData name="Ida Damsgaard" userId="8467f980-da15-4d4d-91b0-c43984527464" providerId="ADAL" clId="{0AB7D3AF-A425-4B49-BE15-72F242F07E3C}" dt="2026-03-09T08:19:00.156" v="17298"/>
          <ac:spMkLst>
            <pc:docMk/>
            <pc:sldMk cId="2230902843" sldId="2147374997"/>
            <ac:spMk id="219" creationId="{2FA8C3B6-DCD1-EC06-3CDC-1FA08665A616}"/>
          </ac:spMkLst>
        </pc:spChg>
        <pc:spChg chg="del mod">
          <ac:chgData name="Ida Damsgaard" userId="8467f980-da15-4d4d-91b0-c43984527464" providerId="ADAL" clId="{0AB7D3AF-A425-4B49-BE15-72F242F07E3C}" dt="2026-03-09T08:19:00.156" v="17299"/>
          <ac:spMkLst>
            <pc:docMk/>
            <pc:sldMk cId="2230902843" sldId="2147374997"/>
            <ac:spMk id="220" creationId="{2FA8C3B6-DCD1-EC06-3CDC-1FA08665A616}"/>
          </ac:spMkLst>
        </pc:spChg>
        <pc:spChg chg="del mod">
          <ac:chgData name="Ida Damsgaard" userId="8467f980-da15-4d4d-91b0-c43984527464" providerId="ADAL" clId="{0AB7D3AF-A425-4B49-BE15-72F242F07E3C}" dt="2026-03-09T08:19:00.156" v="17300"/>
          <ac:spMkLst>
            <pc:docMk/>
            <pc:sldMk cId="2230902843" sldId="2147374997"/>
            <ac:spMk id="221" creationId="{2FA8C3B6-DCD1-EC06-3CDC-1FA08665A616}"/>
          </ac:spMkLst>
        </pc:spChg>
        <pc:spChg chg="del mod">
          <ac:chgData name="Ida Damsgaard" userId="8467f980-da15-4d4d-91b0-c43984527464" providerId="ADAL" clId="{0AB7D3AF-A425-4B49-BE15-72F242F07E3C}" dt="2026-03-09T08:19:00.156" v="17301"/>
          <ac:spMkLst>
            <pc:docMk/>
            <pc:sldMk cId="2230902843" sldId="2147374997"/>
            <ac:spMk id="222" creationId="{2FA8C3B6-DCD1-EC06-3CDC-1FA08665A616}"/>
          </ac:spMkLst>
        </pc:spChg>
        <pc:spChg chg="add del mod modVis">
          <ac:chgData name="Ida Damsgaard" userId="8467f980-da15-4d4d-91b0-c43984527464" providerId="ADAL" clId="{0AB7D3AF-A425-4B49-BE15-72F242F07E3C}" dt="2026-03-09T08:19:00.212" v="17409"/>
          <ac:spMkLst>
            <pc:docMk/>
            <pc:sldMk cId="2230902843" sldId="2147374997"/>
            <ac:spMk id="224" creationId="{1EE6DA04-B7DE-BB6D-3572-938A1F727A94}"/>
          </ac:spMkLst>
        </pc:spChg>
        <pc:spChg chg="add del mod modVis">
          <ac:chgData name="Ida Damsgaard" userId="8467f980-da15-4d4d-91b0-c43984527464" providerId="ADAL" clId="{0AB7D3AF-A425-4B49-BE15-72F242F07E3C}" dt="2026-03-09T08:19:17.667" v="17538"/>
          <ac:spMkLst>
            <pc:docMk/>
            <pc:sldMk cId="2230902843" sldId="2147374997"/>
            <ac:spMk id="226" creationId="{ADDAAA96-780F-66B2-6653-84EB18A41F3F}"/>
          </ac:spMkLst>
        </pc:spChg>
        <pc:spChg chg="add del mod modVis">
          <ac:chgData name="Ida Damsgaard" userId="8467f980-da15-4d4d-91b0-c43984527464" providerId="ADAL" clId="{0AB7D3AF-A425-4B49-BE15-72F242F07E3C}" dt="2026-03-09T08:19:21.370" v="17685"/>
          <ac:spMkLst>
            <pc:docMk/>
            <pc:sldMk cId="2230902843" sldId="2147374997"/>
            <ac:spMk id="228" creationId="{98EBD891-A7B5-11BE-16B8-14A7E07497E1}"/>
          </ac:spMkLst>
        </pc:spChg>
        <pc:spChg chg="add del mod modVis">
          <ac:chgData name="Ida Damsgaard" userId="8467f980-da15-4d4d-91b0-c43984527464" providerId="ADAL" clId="{0AB7D3AF-A425-4B49-BE15-72F242F07E3C}" dt="2026-03-09T08:19:43.849" v="17997"/>
          <ac:spMkLst>
            <pc:docMk/>
            <pc:sldMk cId="2230902843" sldId="2147374997"/>
            <ac:spMk id="230" creationId="{890512FA-0C28-09BB-2BF6-82536924372E}"/>
          </ac:spMkLst>
        </pc:spChg>
        <pc:spChg chg="add del mod ord">
          <ac:chgData name="Ida Damsgaard" userId="8467f980-da15-4d4d-91b0-c43984527464" providerId="ADAL" clId="{0AB7D3AF-A425-4B49-BE15-72F242F07E3C}" dt="2026-03-09T08:19:58.331" v="21245"/>
          <ac:spMkLst>
            <pc:docMk/>
            <pc:sldMk cId="2230902843" sldId="2147374997"/>
            <ac:spMk id="231" creationId="{2FA8C3B6-DCD1-EC06-3CDC-1FA08665A616}"/>
          </ac:spMkLst>
        </pc:spChg>
        <pc:spChg chg="add del mod">
          <ac:chgData name="Ida Damsgaard" userId="8467f980-da15-4d4d-91b0-c43984527464" providerId="ADAL" clId="{0AB7D3AF-A425-4B49-BE15-72F242F07E3C}" dt="2026-03-09T08:19:58.448" v="21312"/>
          <ac:spMkLst>
            <pc:docMk/>
            <pc:sldMk cId="2230902843" sldId="2147374997"/>
            <ac:spMk id="232" creationId="{2FA8C3B6-DCD1-EC06-3CDC-1FA08665A616}"/>
          </ac:spMkLst>
        </pc:spChg>
        <pc:spChg chg="mod ord">
          <ac:chgData name="Ida Damsgaard" userId="8467f980-da15-4d4d-91b0-c43984527464" providerId="ADAL" clId="{0AB7D3AF-A425-4B49-BE15-72F242F07E3C}" dt="2026-03-09T10:15:41.297" v="21445"/>
          <ac:spMkLst>
            <pc:docMk/>
            <pc:sldMk cId="2230902843" sldId="2147374997"/>
            <ac:spMk id="233" creationId="{218842B2-DB97-B97C-2CFE-2E6260F3ACCB}"/>
          </ac:spMkLst>
        </pc:spChg>
        <pc:spChg chg="add del mod">
          <ac:chgData name="Ida Damsgaard" userId="8467f980-da15-4d4d-91b0-c43984527464" providerId="ADAL" clId="{0AB7D3AF-A425-4B49-BE15-72F242F07E3C}" dt="2026-03-09T08:19:58.464" v="21321"/>
          <ac:spMkLst>
            <pc:docMk/>
            <pc:sldMk cId="2230902843" sldId="2147374997"/>
            <ac:spMk id="235" creationId="{2FA8C3B6-DCD1-EC06-3CDC-1FA08665A616}"/>
          </ac:spMkLst>
        </pc:spChg>
        <pc:spChg chg="mod ord">
          <ac:chgData name="Ida Damsgaard" userId="8467f980-da15-4d4d-91b0-c43984527464" providerId="ADAL" clId="{0AB7D3AF-A425-4B49-BE15-72F242F07E3C}" dt="2026-03-09T08:19:58.543" v="21427"/>
          <ac:spMkLst>
            <pc:docMk/>
            <pc:sldMk cId="2230902843" sldId="2147374997"/>
            <ac:spMk id="236" creationId="{0B907469-709D-D4D6-35E8-D2A318345730}"/>
          </ac:spMkLst>
        </pc:spChg>
        <pc:spChg chg="add del mod ord">
          <ac:chgData name="Ida Damsgaard" userId="8467f980-da15-4d4d-91b0-c43984527464" providerId="ADAL" clId="{0AB7D3AF-A425-4B49-BE15-72F242F07E3C}" dt="2026-03-09T08:19:54.093" v="20886"/>
          <ac:spMkLst>
            <pc:docMk/>
            <pc:sldMk cId="2230902843" sldId="2147374997"/>
            <ac:spMk id="238" creationId="{D18138BF-F008-C180-6D2A-9F969FB53DB0}"/>
          </ac:spMkLst>
        </pc:spChg>
        <pc:spChg chg="add del mod ord">
          <ac:chgData name="Ida Damsgaard" userId="8467f980-da15-4d4d-91b0-c43984527464" providerId="ADAL" clId="{0AB7D3AF-A425-4B49-BE15-72F242F07E3C}" dt="2026-03-09T08:19:58.333" v="21249"/>
          <ac:spMkLst>
            <pc:docMk/>
            <pc:sldMk cId="2230902843" sldId="2147374997"/>
            <ac:spMk id="239" creationId="{B9546CB5-DEEA-C82B-0170-65F047CCE585}"/>
          </ac:spMkLst>
        </pc:spChg>
        <pc:spChg chg="add del mod ord">
          <ac:chgData name="Ida Damsgaard" userId="8467f980-da15-4d4d-91b0-c43984527464" providerId="ADAL" clId="{0AB7D3AF-A425-4B49-BE15-72F242F07E3C}" dt="2026-03-09T08:19:58.333" v="21251"/>
          <ac:spMkLst>
            <pc:docMk/>
            <pc:sldMk cId="2230902843" sldId="2147374997"/>
            <ac:spMk id="240" creationId="{1B1FB70D-93CD-FB16-34E3-DF43AF09C73F}"/>
          </ac:spMkLst>
        </pc:spChg>
        <pc:spChg chg="add del mod">
          <ac:chgData name="Ida Damsgaard" userId="8467f980-da15-4d4d-91b0-c43984527464" providerId="ADAL" clId="{0AB7D3AF-A425-4B49-BE15-72F242F07E3C}" dt="2026-03-09T08:19:48.349" v="18869"/>
          <ac:spMkLst>
            <pc:docMk/>
            <pc:sldMk cId="2230902843" sldId="2147374997"/>
            <ac:spMk id="241" creationId="{2AD19A88-17C6-A101-4A70-0C3A7D8845D3}"/>
          </ac:spMkLst>
        </pc:spChg>
        <pc:spChg chg="add del mod">
          <ac:chgData name="Ida Damsgaard" userId="8467f980-da15-4d4d-91b0-c43984527464" providerId="ADAL" clId="{0AB7D3AF-A425-4B49-BE15-72F242F07E3C}" dt="2026-03-09T08:19:48.365" v="18893"/>
          <ac:spMkLst>
            <pc:docMk/>
            <pc:sldMk cId="2230902843" sldId="2147374997"/>
            <ac:spMk id="242" creationId="{14FCFA06-DDD0-B14F-68C1-497E26176A26}"/>
          </ac:spMkLst>
        </pc:spChg>
        <pc:spChg chg="add del mod ord">
          <ac:chgData name="Ida Damsgaard" userId="8467f980-da15-4d4d-91b0-c43984527464" providerId="ADAL" clId="{0AB7D3AF-A425-4B49-BE15-72F242F07E3C}" dt="2026-03-09T08:19:54.143" v="20946"/>
          <ac:spMkLst>
            <pc:docMk/>
            <pc:sldMk cId="2230902843" sldId="2147374997"/>
            <ac:spMk id="243" creationId="{3FB9B2BE-0CEE-B9DE-4288-6C3C9FAFAD28}"/>
          </ac:spMkLst>
        </pc:spChg>
        <pc:spChg chg="add del mod ord">
          <ac:chgData name="Ida Damsgaard" userId="8467f980-da15-4d4d-91b0-c43984527464" providerId="ADAL" clId="{0AB7D3AF-A425-4B49-BE15-72F242F07E3C}" dt="2026-03-09T08:19:54.149" v="20955"/>
          <ac:spMkLst>
            <pc:docMk/>
            <pc:sldMk cId="2230902843" sldId="2147374997"/>
            <ac:spMk id="244" creationId="{63149D90-395D-6526-BF5B-BD4C00CEAF95}"/>
          </ac:spMkLst>
        </pc:spChg>
        <pc:spChg chg="add del mod">
          <ac:chgData name="Ida Damsgaard" userId="8467f980-da15-4d4d-91b0-c43984527464" providerId="ADAL" clId="{0AB7D3AF-A425-4B49-BE15-72F242F07E3C}" dt="2026-03-09T08:19:48.397" v="18949"/>
          <ac:spMkLst>
            <pc:docMk/>
            <pc:sldMk cId="2230902843" sldId="2147374997"/>
            <ac:spMk id="245" creationId="{4A286FD7-240B-4F44-B9C4-240E54659DEE}"/>
          </ac:spMkLst>
        </pc:spChg>
        <pc:spChg chg="add del mod">
          <ac:chgData name="Ida Damsgaard" userId="8467f980-da15-4d4d-91b0-c43984527464" providerId="ADAL" clId="{0AB7D3AF-A425-4B49-BE15-72F242F07E3C}" dt="2026-03-09T08:19:58.342" v="21264"/>
          <ac:spMkLst>
            <pc:docMk/>
            <pc:sldMk cId="2230902843" sldId="2147374997"/>
            <ac:spMk id="246" creationId="{7292C920-0799-1844-F6CE-1C0C888AE396}"/>
          </ac:spMkLst>
        </pc:spChg>
        <pc:spChg chg="add del mod modVis">
          <ac:chgData name="Ida Damsgaard" userId="8467f980-da15-4d4d-91b0-c43984527464" providerId="ADAL" clId="{0AB7D3AF-A425-4B49-BE15-72F242F07E3C}" dt="2026-03-09T08:19:48.526" v="19155"/>
          <ac:spMkLst>
            <pc:docMk/>
            <pc:sldMk cId="2230902843" sldId="2147374997"/>
            <ac:spMk id="247" creationId="{6EA5B063-3CCA-F91B-3922-DB6E55DD318B}"/>
          </ac:spMkLst>
        </pc:spChg>
        <pc:spChg chg="add del mod ord">
          <ac:chgData name="Ida Damsgaard" userId="8467f980-da15-4d4d-91b0-c43984527464" providerId="ADAL" clId="{0AB7D3AF-A425-4B49-BE15-72F242F07E3C}" dt="2026-03-09T08:19:58.110" v="21136"/>
          <ac:spMkLst>
            <pc:docMk/>
            <pc:sldMk cId="2230902843" sldId="2147374997"/>
            <ac:spMk id="248" creationId="{2FA8C3B6-DCD1-EC06-3CDC-1FA08665A616}"/>
          </ac:spMkLst>
        </pc:spChg>
        <pc:spChg chg="add del mod">
          <ac:chgData name="Ida Damsgaard" userId="8467f980-da15-4d4d-91b0-c43984527464" providerId="ADAL" clId="{0AB7D3AF-A425-4B49-BE15-72F242F07E3C}" dt="2026-03-09T08:19:58.448" v="21313"/>
          <ac:spMkLst>
            <pc:docMk/>
            <pc:sldMk cId="2230902843" sldId="2147374997"/>
            <ac:spMk id="249" creationId="{2FA8C3B6-DCD1-EC06-3CDC-1FA08665A616}"/>
          </ac:spMkLst>
        </pc:spChg>
        <pc:spChg chg="add del mod">
          <ac:chgData name="Ida Damsgaard" userId="8467f980-da15-4d4d-91b0-c43984527464" providerId="ADAL" clId="{0AB7D3AF-A425-4B49-BE15-72F242F07E3C}" dt="2026-03-09T08:19:58.448" v="21314"/>
          <ac:spMkLst>
            <pc:docMk/>
            <pc:sldMk cId="2230902843" sldId="2147374997"/>
            <ac:spMk id="250" creationId="{2FA8C3B6-DCD1-EC06-3CDC-1FA08665A616}"/>
          </ac:spMkLst>
        </pc:spChg>
        <pc:spChg chg="add del mod">
          <ac:chgData name="Ida Damsgaard" userId="8467f980-da15-4d4d-91b0-c43984527464" providerId="ADAL" clId="{0AB7D3AF-A425-4B49-BE15-72F242F07E3C}" dt="2026-03-09T08:19:58.448" v="21315"/>
          <ac:spMkLst>
            <pc:docMk/>
            <pc:sldMk cId="2230902843" sldId="2147374997"/>
            <ac:spMk id="251" creationId="{2FA8C3B6-DCD1-EC06-3CDC-1FA08665A616}"/>
          </ac:spMkLst>
        </pc:spChg>
        <pc:spChg chg="add del mod">
          <ac:chgData name="Ida Damsgaard" userId="8467f980-da15-4d4d-91b0-c43984527464" providerId="ADAL" clId="{0AB7D3AF-A425-4B49-BE15-72F242F07E3C}" dt="2026-03-09T08:19:58.448" v="21316"/>
          <ac:spMkLst>
            <pc:docMk/>
            <pc:sldMk cId="2230902843" sldId="2147374997"/>
            <ac:spMk id="252" creationId="{2FA8C3B6-DCD1-EC06-3CDC-1FA08665A616}"/>
          </ac:spMkLst>
        </pc:spChg>
        <pc:spChg chg="add del mod">
          <ac:chgData name="Ida Damsgaard" userId="8467f980-da15-4d4d-91b0-c43984527464" providerId="ADAL" clId="{0AB7D3AF-A425-4B49-BE15-72F242F07E3C}" dt="2026-03-09T08:19:58.448" v="21317"/>
          <ac:spMkLst>
            <pc:docMk/>
            <pc:sldMk cId="2230902843" sldId="2147374997"/>
            <ac:spMk id="253" creationId="{2FA8C3B6-DCD1-EC06-3CDC-1FA08665A616}"/>
          </ac:spMkLst>
        </pc:spChg>
        <pc:spChg chg="add del mod">
          <ac:chgData name="Ida Damsgaard" userId="8467f980-da15-4d4d-91b0-c43984527464" providerId="ADAL" clId="{0AB7D3AF-A425-4B49-BE15-72F242F07E3C}" dt="2026-03-09T08:19:58.448" v="21318"/>
          <ac:spMkLst>
            <pc:docMk/>
            <pc:sldMk cId="2230902843" sldId="2147374997"/>
            <ac:spMk id="254" creationId="{2FA8C3B6-DCD1-EC06-3CDC-1FA08665A616}"/>
          </ac:spMkLst>
        </pc:spChg>
        <pc:spChg chg="add del mod">
          <ac:chgData name="Ida Damsgaard" userId="8467f980-da15-4d4d-91b0-c43984527464" providerId="ADAL" clId="{0AB7D3AF-A425-4B49-BE15-72F242F07E3C}" dt="2026-03-09T08:19:58.448" v="21319"/>
          <ac:spMkLst>
            <pc:docMk/>
            <pc:sldMk cId="2230902843" sldId="2147374997"/>
            <ac:spMk id="255" creationId="{2FA8C3B6-DCD1-EC06-3CDC-1FA08665A616}"/>
          </ac:spMkLst>
        </pc:spChg>
        <pc:spChg chg="add del mod">
          <ac:chgData name="Ida Damsgaard" userId="8467f980-da15-4d4d-91b0-c43984527464" providerId="ADAL" clId="{0AB7D3AF-A425-4B49-BE15-72F242F07E3C}" dt="2026-03-09T08:19:58.448" v="21320"/>
          <ac:spMkLst>
            <pc:docMk/>
            <pc:sldMk cId="2230902843" sldId="2147374997"/>
            <ac:spMk id="256" creationId="{2FA8C3B6-DCD1-EC06-3CDC-1FA08665A616}"/>
          </ac:spMkLst>
        </pc:spChg>
        <pc:spChg chg="add del mod ord">
          <ac:chgData name="Ida Damsgaard" userId="8467f980-da15-4d4d-91b0-c43984527464" providerId="ADAL" clId="{0AB7D3AF-A425-4B49-BE15-72F242F07E3C}" dt="2026-03-09T08:19:58.112" v="21142"/>
          <ac:spMkLst>
            <pc:docMk/>
            <pc:sldMk cId="2230902843" sldId="2147374997"/>
            <ac:spMk id="257" creationId="{2FA8C3B6-DCD1-EC06-3CDC-1FA08665A616}"/>
          </ac:spMkLst>
        </pc:spChg>
        <pc:spChg chg="add del mod modVis">
          <ac:chgData name="Ida Damsgaard" userId="8467f980-da15-4d4d-91b0-c43984527464" providerId="ADAL" clId="{0AB7D3AF-A425-4B49-BE15-72F242F07E3C}" dt="2026-03-09T08:19:53.212" v="20464"/>
          <ac:spMkLst>
            <pc:docMk/>
            <pc:sldMk cId="2230902843" sldId="2147374997"/>
            <ac:spMk id="264" creationId="{8438B1CD-3454-D50E-1CD5-AB854823F9DF}"/>
          </ac:spMkLst>
        </pc:spChg>
        <pc:spChg chg="add del mod ord">
          <ac:chgData name="Ida Damsgaard" userId="8467f980-da15-4d4d-91b0-c43984527464" providerId="ADAL" clId="{0AB7D3AF-A425-4B49-BE15-72F242F07E3C}" dt="2026-03-09T08:19:54.093" v="20892"/>
          <ac:spMkLst>
            <pc:docMk/>
            <pc:sldMk cId="2230902843" sldId="2147374997"/>
            <ac:spMk id="265" creationId="{2FA8C3B6-DCD1-EC06-3CDC-1FA08665A616}"/>
          </ac:spMkLst>
        </pc:spChg>
        <pc:spChg chg="add del mod ord">
          <ac:chgData name="Ida Damsgaard" userId="8467f980-da15-4d4d-91b0-c43984527464" providerId="ADAL" clId="{0AB7D3AF-A425-4B49-BE15-72F242F07E3C}" dt="2026-03-09T08:19:54.109" v="20907"/>
          <ac:spMkLst>
            <pc:docMk/>
            <pc:sldMk cId="2230902843" sldId="2147374997"/>
            <ac:spMk id="266" creationId="{2FA8C3B6-DCD1-EC06-3CDC-1FA08665A616}"/>
          </ac:spMkLst>
        </pc:spChg>
        <pc:spChg chg="add del mod ord">
          <ac:chgData name="Ida Damsgaard" userId="8467f980-da15-4d4d-91b0-c43984527464" providerId="ADAL" clId="{0AB7D3AF-A425-4B49-BE15-72F242F07E3C}" dt="2026-03-09T08:19:54.125" v="20921"/>
          <ac:spMkLst>
            <pc:docMk/>
            <pc:sldMk cId="2230902843" sldId="2147374997"/>
            <ac:spMk id="267" creationId="{2FA8C3B6-DCD1-EC06-3CDC-1FA08665A616}"/>
          </ac:spMkLst>
        </pc:spChg>
        <pc:spChg chg="add del mod ord">
          <ac:chgData name="Ida Damsgaard" userId="8467f980-da15-4d4d-91b0-c43984527464" providerId="ADAL" clId="{0AB7D3AF-A425-4B49-BE15-72F242F07E3C}" dt="2026-03-09T08:19:58.112" v="21138"/>
          <ac:spMkLst>
            <pc:docMk/>
            <pc:sldMk cId="2230902843" sldId="2147374997"/>
            <ac:spMk id="268" creationId="{2FA8C3B6-DCD1-EC06-3CDC-1FA08665A616}"/>
          </ac:spMkLst>
        </pc:spChg>
        <pc:spChg chg="add del mod">
          <ac:chgData name="Ida Damsgaard" userId="8467f980-da15-4d4d-91b0-c43984527464" providerId="ADAL" clId="{0AB7D3AF-A425-4B49-BE15-72F242F07E3C}" dt="2026-03-09T08:19:54.129" v="20924"/>
          <ac:spMkLst>
            <pc:docMk/>
            <pc:sldMk cId="2230902843" sldId="2147374997"/>
            <ac:spMk id="269" creationId="{2FA8C3B6-DCD1-EC06-3CDC-1FA08665A616}"/>
          </ac:spMkLst>
        </pc:spChg>
        <pc:spChg chg="add del mod ord">
          <ac:chgData name="Ida Damsgaard" userId="8467f980-da15-4d4d-91b0-c43984527464" providerId="ADAL" clId="{0AB7D3AF-A425-4B49-BE15-72F242F07E3C}" dt="2026-03-09T08:19:58.112" v="21140"/>
          <ac:spMkLst>
            <pc:docMk/>
            <pc:sldMk cId="2230902843" sldId="2147374997"/>
            <ac:spMk id="270" creationId="{2FA8C3B6-DCD1-EC06-3CDC-1FA08665A616}"/>
          </ac:spMkLst>
        </pc:spChg>
        <pc:spChg chg="add del mod">
          <ac:chgData name="Ida Damsgaard" userId="8467f980-da15-4d4d-91b0-c43984527464" providerId="ADAL" clId="{0AB7D3AF-A425-4B49-BE15-72F242F07E3C}" dt="2026-03-09T08:19:54.137" v="20935"/>
          <ac:spMkLst>
            <pc:docMk/>
            <pc:sldMk cId="2230902843" sldId="2147374997"/>
            <ac:spMk id="271" creationId="{2FA8C3B6-DCD1-EC06-3CDC-1FA08665A616}"/>
          </ac:spMkLst>
        </pc:spChg>
        <pc:spChg chg="add del mod ord">
          <ac:chgData name="Ida Damsgaard" userId="8467f980-da15-4d4d-91b0-c43984527464" providerId="ADAL" clId="{0AB7D3AF-A425-4B49-BE15-72F242F07E3C}" dt="2026-03-09T08:19:54.145" v="20952"/>
          <ac:spMkLst>
            <pc:docMk/>
            <pc:sldMk cId="2230902843" sldId="2147374997"/>
            <ac:spMk id="272" creationId="{2FA8C3B6-DCD1-EC06-3CDC-1FA08665A616}"/>
          </ac:spMkLst>
        </pc:spChg>
        <pc:spChg chg="add del mod ord">
          <ac:chgData name="Ida Damsgaard" userId="8467f980-da15-4d4d-91b0-c43984527464" providerId="ADAL" clId="{0AB7D3AF-A425-4B49-BE15-72F242F07E3C}" dt="2026-03-09T08:19:54.153" v="20961"/>
          <ac:spMkLst>
            <pc:docMk/>
            <pc:sldMk cId="2230902843" sldId="2147374997"/>
            <ac:spMk id="273" creationId="{2FA8C3B6-DCD1-EC06-3CDC-1FA08665A616}"/>
          </ac:spMkLst>
        </pc:spChg>
        <pc:spChg chg="add del mod ord">
          <ac:chgData name="Ida Damsgaard" userId="8467f980-da15-4d4d-91b0-c43984527464" providerId="ADAL" clId="{0AB7D3AF-A425-4B49-BE15-72F242F07E3C}" dt="2026-03-09T08:19:54.160" v="20970"/>
          <ac:spMkLst>
            <pc:docMk/>
            <pc:sldMk cId="2230902843" sldId="2147374997"/>
            <ac:spMk id="274" creationId="{2FA8C3B6-DCD1-EC06-3CDC-1FA08665A616}"/>
          </ac:spMkLst>
        </pc:spChg>
        <pc:spChg chg="add del mod">
          <ac:chgData name="Ida Damsgaard" userId="8467f980-da15-4d4d-91b0-c43984527464" providerId="ADAL" clId="{0AB7D3AF-A425-4B49-BE15-72F242F07E3C}" dt="2026-03-09T08:19:54.153" v="20964"/>
          <ac:spMkLst>
            <pc:docMk/>
            <pc:sldMk cId="2230902843" sldId="2147374997"/>
            <ac:spMk id="275" creationId="{2FA8C3B6-DCD1-EC06-3CDC-1FA08665A616}"/>
          </ac:spMkLst>
        </pc:spChg>
        <pc:spChg chg="add del mod modVis">
          <ac:chgData name="Ida Damsgaard" userId="8467f980-da15-4d4d-91b0-c43984527464" providerId="ADAL" clId="{0AB7D3AF-A425-4B49-BE15-72F242F07E3C}" dt="2026-03-09T08:19:54.299" v="21132"/>
          <ac:spMkLst>
            <pc:docMk/>
            <pc:sldMk cId="2230902843" sldId="2147374997"/>
            <ac:spMk id="282" creationId="{E94550CC-CD45-EFB8-C306-24F7A6B59FD7}"/>
          </ac:spMkLst>
        </pc:spChg>
        <pc:spChg chg="add del mod modVis">
          <ac:chgData name="Ida Damsgaard" userId="8467f980-da15-4d4d-91b0-c43984527464" providerId="ADAL" clId="{0AB7D3AF-A425-4B49-BE15-72F242F07E3C}" dt="2026-03-09T08:19:58.543" v="21429"/>
          <ac:spMkLst>
            <pc:docMk/>
            <pc:sldMk cId="2230902843" sldId="2147374997"/>
            <ac:spMk id="284" creationId="{DB7D29A1-EB31-30F6-151D-B78A632645DC}"/>
          </ac:spMkLst>
        </pc:spChg>
        <pc:graphicFrameChg chg="add del mod ord">
          <ac:chgData name="Ida Damsgaard" userId="8467f980-da15-4d4d-91b0-c43984527464" providerId="ADAL" clId="{0AB7D3AF-A425-4B49-BE15-72F242F07E3C}" dt="2026-03-09T08:11:22.942" v="808"/>
          <ac:graphicFrameMkLst>
            <pc:docMk/>
            <pc:sldMk cId="2230902843" sldId="2147374997"/>
            <ac:graphicFrameMk id="6" creationId="{3A1D5A5A-6568-6089-1F24-F0F135DF3F5A}"/>
          </ac:graphicFrameMkLst>
        </pc:graphicFrameChg>
        <pc:graphicFrameChg chg="add del mod ord">
          <ac:chgData name="Ida Damsgaard" userId="8467f980-da15-4d4d-91b0-c43984527464" providerId="ADAL" clId="{0AB7D3AF-A425-4B49-BE15-72F242F07E3C}" dt="2026-03-09T08:11:25.555" v="1095"/>
          <ac:graphicFrameMkLst>
            <pc:docMk/>
            <pc:sldMk cId="2230902843" sldId="2147374997"/>
            <ac:graphicFrameMk id="9" creationId="{F2837CF8-96C6-BC58-011E-7DBBD4012064}"/>
          </ac:graphicFrameMkLst>
        </pc:graphicFrameChg>
        <pc:graphicFrameChg chg="add del mod ord">
          <ac:chgData name="Ida Damsgaard" userId="8467f980-da15-4d4d-91b0-c43984527464" providerId="ADAL" clId="{0AB7D3AF-A425-4B49-BE15-72F242F07E3C}" dt="2026-03-09T08:12:25.999" v="1215"/>
          <ac:graphicFrameMkLst>
            <pc:docMk/>
            <pc:sldMk cId="2230902843" sldId="2147374997"/>
            <ac:graphicFrameMk id="12" creationId="{C44993A4-5503-61AD-38DD-AC19F50234BE}"/>
          </ac:graphicFrameMkLst>
        </pc:graphicFrameChg>
        <pc:graphicFrameChg chg="mod">
          <ac:chgData name="Ida Damsgaard" userId="8467f980-da15-4d4d-91b0-c43984527464" providerId="ADAL" clId="{0AB7D3AF-A425-4B49-BE15-72F242F07E3C}" dt="2026-03-09T08:19:58.543" v="21431"/>
          <ac:graphicFrameMkLst>
            <pc:docMk/>
            <pc:sldMk cId="2230902843" sldId="2147374997"/>
            <ac:graphicFrameMk id="13" creationId="{811042C2-D8EF-40DD-79D7-4E65E1FBBFD3}"/>
          </ac:graphicFrameMkLst>
        </pc:graphicFrameChg>
        <pc:graphicFrameChg chg="add del mod ord">
          <ac:chgData name="Ida Damsgaard" userId="8467f980-da15-4d4d-91b0-c43984527464" providerId="ADAL" clId="{0AB7D3AF-A425-4B49-BE15-72F242F07E3C}" dt="2026-03-09T08:12:27.862" v="1333"/>
          <ac:graphicFrameMkLst>
            <pc:docMk/>
            <pc:sldMk cId="2230902843" sldId="2147374997"/>
            <ac:graphicFrameMk id="14" creationId="{A69CB13E-CEAC-8D2C-056E-60D1B817B3BD}"/>
          </ac:graphicFrameMkLst>
        </pc:graphicFrameChg>
        <pc:graphicFrameChg chg="add del mod ord">
          <ac:chgData name="Ida Damsgaard" userId="8467f980-da15-4d4d-91b0-c43984527464" providerId="ADAL" clId="{0AB7D3AF-A425-4B49-BE15-72F242F07E3C}" dt="2026-03-09T08:12:32.455" v="1451"/>
          <ac:graphicFrameMkLst>
            <pc:docMk/>
            <pc:sldMk cId="2230902843" sldId="2147374997"/>
            <ac:graphicFrameMk id="15" creationId="{3D778B5F-9104-484A-57B1-D2DCB8A6296D}"/>
          </ac:graphicFrameMkLst>
        </pc:graphicFrameChg>
        <pc:graphicFrameChg chg="add del mod ord">
          <ac:chgData name="Ida Damsgaard" userId="8467f980-da15-4d4d-91b0-c43984527464" providerId="ADAL" clId="{0AB7D3AF-A425-4B49-BE15-72F242F07E3C}" dt="2026-03-09T08:13:34.215" v="2009"/>
          <ac:graphicFrameMkLst>
            <pc:docMk/>
            <pc:sldMk cId="2230902843" sldId="2147374997"/>
            <ac:graphicFrameMk id="16" creationId="{9F4DB39C-9ADD-F5AD-E631-59A537E9D175}"/>
          </ac:graphicFrameMkLst>
        </pc:graphicFrameChg>
        <pc:graphicFrameChg chg="mod ord">
          <ac:chgData name="Ida Damsgaard" userId="8467f980-da15-4d4d-91b0-c43984527464" providerId="ADAL" clId="{0AB7D3AF-A425-4B49-BE15-72F242F07E3C}" dt="2026-03-09T08:19:58.527" v="21382"/>
          <ac:graphicFrameMkLst>
            <pc:docMk/>
            <pc:sldMk cId="2230902843" sldId="2147374997"/>
            <ac:graphicFrameMk id="30" creationId="{3A342C09-081F-D4D2-4138-B127386AEBCE}"/>
          </ac:graphicFrameMkLst>
        </pc:graphicFrameChg>
        <pc:graphicFrameChg chg="add mod ord">
          <ac:chgData name="Ida Damsgaard" userId="8467f980-da15-4d4d-91b0-c43984527464" providerId="ADAL" clId="{0AB7D3AF-A425-4B49-BE15-72F242F07E3C}" dt="2026-03-09T08:12:40.958" v="1906" actId="1076"/>
          <ac:graphicFrameMkLst>
            <pc:docMk/>
            <pc:sldMk cId="2230902843" sldId="2147374997"/>
            <ac:graphicFrameMk id="31" creationId="{DDCE8A8F-178F-7562-73C3-0A7661632F44}"/>
          </ac:graphicFrameMkLst>
        </pc:graphicFrameChg>
        <pc:graphicFrameChg chg="add del mod ord">
          <ac:chgData name="Ida Damsgaard" userId="8467f980-da15-4d4d-91b0-c43984527464" providerId="ADAL" clId="{0AB7D3AF-A425-4B49-BE15-72F242F07E3C}" dt="2026-03-09T08:15:36.536" v="14474"/>
          <ac:graphicFrameMkLst>
            <pc:docMk/>
            <pc:sldMk cId="2230902843" sldId="2147374997"/>
            <ac:graphicFrameMk id="33" creationId="{B19D5BC2-A19E-47B6-0644-4F504D3164A6}"/>
          </ac:graphicFrameMkLst>
        </pc:graphicFrameChg>
        <pc:graphicFrameChg chg="add del mod ord">
          <ac:chgData name="Ida Damsgaard" userId="8467f980-da15-4d4d-91b0-c43984527464" providerId="ADAL" clId="{0AB7D3AF-A425-4B49-BE15-72F242F07E3C}" dt="2026-03-09T08:15:20.307" v="13978" actId="1076"/>
          <ac:graphicFrameMkLst>
            <pc:docMk/>
            <pc:sldMk cId="2230902843" sldId="2147374997"/>
            <ac:graphicFrameMk id="58" creationId="{67E0D5B2-AE99-4587-2A9C-276BF384D11E}"/>
          </ac:graphicFrameMkLst>
        </pc:graphicFrameChg>
        <pc:graphicFrameChg chg="del">
          <ac:chgData name="Ida Damsgaard" userId="8467f980-da15-4d4d-91b0-c43984527464" providerId="ADAL" clId="{0AB7D3AF-A425-4B49-BE15-72F242F07E3C}" dt="2026-03-09T08:10:52.322" v="521"/>
          <ac:graphicFrameMkLst>
            <pc:docMk/>
            <pc:sldMk cId="2230902843" sldId="2147374997"/>
            <ac:graphicFrameMk id="61" creationId="{AFC06381-08A3-4726-EF74-40B0373FE151}"/>
          </ac:graphicFrameMkLst>
        </pc:graphicFrameChg>
        <pc:graphicFrameChg chg="add del mod ord">
          <ac:chgData name="Ida Damsgaard" userId="8467f980-da15-4d4d-91b0-c43984527464" providerId="ADAL" clId="{0AB7D3AF-A425-4B49-BE15-72F242F07E3C}" dt="2026-03-09T08:15:19.592" v="13519" actId="1076"/>
          <ac:graphicFrameMkLst>
            <pc:docMk/>
            <pc:sldMk cId="2230902843" sldId="2147374997"/>
            <ac:graphicFrameMk id="82" creationId="{3BCD8C50-6861-EF5B-041A-AC75F0E512E3}"/>
          </ac:graphicFrameMkLst>
        </pc:graphicFrameChg>
        <pc:graphicFrameChg chg="add del mod ord">
          <ac:chgData name="Ida Damsgaard" userId="8467f980-da15-4d4d-91b0-c43984527464" providerId="ADAL" clId="{0AB7D3AF-A425-4B49-BE15-72F242F07E3C}" dt="2026-03-09T08:15:18.912" v="13419" actId="1076"/>
          <ac:graphicFrameMkLst>
            <pc:docMk/>
            <pc:sldMk cId="2230902843" sldId="2147374997"/>
            <ac:graphicFrameMk id="87" creationId="{900995C5-2B29-93A5-FF1C-D895C6D3F7FC}"/>
          </ac:graphicFrameMkLst>
        </pc:graphicFrameChg>
        <pc:graphicFrameChg chg="add del mod ord">
          <ac:chgData name="Ida Damsgaard" userId="8467f980-da15-4d4d-91b0-c43984527464" providerId="ADAL" clId="{0AB7D3AF-A425-4B49-BE15-72F242F07E3C}" dt="2026-03-09T08:15:18.080" v="12913" actId="1076"/>
          <ac:graphicFrameMkLst>
            <pc:docMk/>
            <pc:sldMk cId="2230902843" sldId="2147374997"/>
            <ac:graphicFrameMk id="111" creationId="{F7277D9D-F468-E175-3E1C-DD6651A55574}"/>
          </ac:graphicFrameMkLst>
        </pc:graphicFrameChg>
        <pc:graphicFrameChg chg="add del mod ord">
          <ac:chgData name="Ida Damsgaard" userId="8467f980-da15-4d4d-91b0-c43984527464" providerId="ADAL" clId="{0AB7D3AF-A425-4B49-BE15-72F242F07E3C}" dt="2026-03-09T08:15:16.930" v="12213" actId="1076"/>
          <ac:graphicFrameMkLst>
            <pc:docMk/>
            <pc:sldMk cId="2230902843" sldId="2147374997"/>
            <ac:graphicFrameMk id="140" creationId="{56AEC6C7-1FF6-875E-D914-86550AB06107}"/>
          </ac:graphicFrameMkLst>
        </pc:graphicFrameChg>
        <pc:graphicFrameChg chg="add del mod ord">
          <ac:chgData name="Ida Damsgaard" userId="8467f980-da15-4d4d-91b0-c43984527464" providerId="ADAL" clId="{0AB7D3AF-A425-4B49-BE15-72F242F07E3C}" dt="2026-03-09T08:15:16.104" v="11927" actId="1076"/>
          <ac:graphicFrameMkLst>
            <pc:docMk/>
            <pc:sldMk cId="2230902843" sldId="2147374997"/>
            <ac:graphicFrameMk id="146" creationId="{E66C7D08-E6DC-31F8-43F2-B74315FAA2FC}"/>
          </ac:graphicFrameMkLst>
        </pc:graphicFrameChg>
        <pc:graphicFrameChg chg="add del mod ord">
          <ac:chgData name="Ida Damsgaard" userId="8467f980-da15-4d4d-91b0-c43984527464" providerId="ADAL" clId="{0AB7D3AF-A425-4B49-BE15-72F242F07E3C}" dt="2026-03-09T08:15:15.161" v="11228" actId="1076"/>
          <ac:graphicFrameMkLst>
            <pc:docMk/>
            <pc:sldMk cId="2230902843" sldId="2147374997"/>
            <ac:graphicFrameMk id="174" creationId="{46A746BA-3407-DEC1-1FE6-BFD54F1CB0CC}"/>
          </ac:graphicFrameMkLst>
        </pc:graphicFrameChg>
        <pc:graphicFrameChg chg="add del mod ord">
          <ac:chgData name="Ida Damsgaard" userId="8467f980-da15-4d4d-91b0-c43984527464" providerId="ADAL" clId="{0AB7D3AF-A425-4B49-BE15-72F242F07E3C}" dt="2026-03-09T08:15:14.770" v="10700" actId="1076"/>
          <ac:graphicFrameMkLst>
            <pc:docMk/>
            <pc:sldMk cId="2230902843" sldId="2147374997"/>
            <ac:graphicFrameMk id="184" creationId="{BAB41470-D13D-2618-4254-399D1820F761}"/>
          </ac:graphicFrameMkLst>
        </pc:graphicFrameChg>
        <pc:graphicFrameChg chg="add del mod ord">
          <ac:chgData name="Ida Damsgaard" userId="8467f980-da15-4d4d-91b0-c43984527464" providerId="ADAL" clId="{0AB7D3AF-A425-4B49-BE15-72F242F07E3C}" dt="2026-03-09T08:15:13.852" v="10541" actId="1076"/>
          <ac:graphicFrameMkLst>
            <pc:docMk/>
            <pc:sldMk cId="2230902843" sldId="2147374997"/>
            <ac:graphicFrameMk id="186" creationId="{FE4D3B22-4F98-CBD2-D03F-F9AE313C1385}"/>
          </ac:graphicFrameMkLst>
        </pc:graphicFrameChg>
        <pc:graphicFrameChg chg="add del mod ord">
          <ac:chgData name="Ida Damsgaard" userId="8467f980-da15-4d4d-91b0-c43984527464" providerId="ADAL" clId="{0AB7D3AF-A425-4B49-BE15-72F242F07E3C}" dt="2026-03-09T08:15:13.503" v="10484" actId="1076"/>
          <ac:graphicFrameMkLst>
            <pc:docMk/>
            <pc:sldMk cId="2230902843" sldId="2147374997"/>
            <ac:graphicFrameMk id="187" creationId="{A3CCE848-30BB-2AA1-99C2-56067BFA8890}"/>
          </ac:graphicFrameMkLst>
        </pc:graphicFrameChg>
        <pc:graphicFrameChg chg="add mod ord">
          <ac:chgData name="Ida Damsgaard" userId="8467f980-da15-4d4d-91b0-c43984527464" providerId="ADAL" clId="{0AB7D3AF-A425-4B49-BE15-72F242F07E3C}" dt="2026-03-09T08:15:13.127" v="10428" actId="1076"/>
          <ac:graphicFrameMkLst>
            <pc:docMk/>
            <pc:sldMk cId="2230902843" sldId="2147374997"/>
            <ac:graphicFrameMk id="188" creationId="{05593874-FE82-6961-6F53-E8E94A5E710E}"/>
          </ac:graphicFrameMkLst>
        </pc:graphicFrameChg>
        <pc:graphicFrameChg chg="add del mod ord">
          <ac:chgData name="Ida Damsgaard" userId="8467f980-da15-4d4d-91b0-c43984527464" providerId="ADAL" clId="{0AB7D3AF-A425-4B49-BE15-72F242F07E3C}" dt="2026-03-09T08:15:43.103" v="14761"/>
          <ac:graphicFrameMkLst>
            <pc:docMk/>
            <pc:sldMk cId="2230902843" sldId="2147374997"/>
            <ac:graphicFrameMk id="190" creationId="{1B79C057-CE61-B868-A7D7-D0978D77AEF5}"/>
          </ac:graphicFrameMkLst>
        </pc:graphicFrameChg>
        <pc:graphicFrameChg chg="add del mod ord">
          <ac:chgData name="Ida Damsgaard" userId="8467f980-da15-4d4d-91b0-c43984527464" providerId="ADAL" clId="{0AB7D3AF-A425-4B49-BE15-72F242F07E3C}" dt="2026-03-09T08:18:12.136" v="15981"/>
          <ac:graphicFrameMkLst>
            <pc:docMk/>
            <pc:sldMk cId="2230902843" sldId="2147374997"/>
            <ac:graphicFrameMk id="192" creationId="{83BA38D4-4863-E501-B5BB-52279944D6E3}"/>
          </ac:graphicFrameMkLst>
        </pc:graphicFrameChg>
        <pc:graphicFrameChg chg="add mod ord">
          <ac:chgData name="Ida Damsgaard" userId="8467f980-da15-4d4d-91b0-c43984527464" providerId="ADAL" clId="{0AB7D3AF-A425-4B49-BE15-72F242F07E3C}" dt="2026-03-09T08:16:11.702" v="15594" actId="1076"/>
          <ac:graphicFrameMkLst>
            <pc:docMk/>
            <pc:sldMk cId="2230902843" sldId="2147374997"/>
            <ac:graphicFrameMk id="205" creationId="{F44F0BAB-813A-0860-3161-6762DFAC5755}"/>
          </ac:graphicFrameMkLst>
        </pc:graphicFrameChg>
        <pc:graphicFrameChg chg="add del mod ord">
          <ac:chgData name="Ida Damsgaard" userId="8467f980-da15-4d4d-91b0-c43984527464" providerId="ADAL" clId="{0AB7D3AF-A425-4B49-BE15-72F242F07E3C}" dt="2026-03-09T08:18:16.383" v="16109"/>
          <ac:graphicFrameMkLst>
            <pc:docMk/>
            <pc:sldMk cId="2230902843" sldId="2147374997"/>
            <ac:graphicFrameMk id="207" creationId="{B33F1028-E5AE-3358-E1A2-1E24EC8CBBB3}"/>
          </ac:graphicFrameMkLst>
        </pc:graphicFrameChg>
        <pc:graphicFrameChg chg="add del mod ord">
          <ac:chgData name="Ida Damsgaard" userId="8467f980-da15-4d4d-91b0-c43984527464" providerId="ADAL" clId="{0AB7D3AF-A425-4B49-BE15-72F242F07E3C}" dt="2026-03-09T08:18:18.778" v="16227"/>
          <ac:graphicFrameMkLst>
            <pc:docMk/>
            <pc:sldMk cId="2230902843" sldId="2147374997"/>
            <ac:graphicFrameMk id="208" creationId="{F823CE64-D9A2-A1E0-142D-F1B57DFC16C8}"/>
          </ac:graphicFrameMkLst>
        </pc:graphicFrameChg>
        <pc:graphicFrameChg chg="add del mod ord">
          <ac:chgData name="Ida Damsgaard" userId="8467f980-da15-4d4d-91b0-c43984527464" providerId="ADAL" clId="{0AB7D3AF-A425-4B49-BE15-72F242F07E3C}" dt="2026-03-09T08:18:45.399" v="16888"/>
          <ac:graphicFrameMkLst>
            <pc:docMk/>
            <pc:sldMk cId="2230902843" sldId="2147374997"/>
            <ac:graphicFrameMk id="209" creationId="{4B011013-0403-A730-C3C3-22AA06B53280}"/>
          </ac:graphicFrameMkLst>
        </pc:graphicFrameChg>
        <pc:graphicFrameChg chg="add mod ord">
          <ac:chgData name="Ida Damsgaard" userId="8467f980-da15-4d4d-91b0-c43984527464" providerId="ADAL" clId="{0AB7D3AF-A425-4B49-BE15-72F242F07E3C}" dt="2026-03-09T08:18:28.817" v="16667" actId="1076"/>
          <ac:graphicFrameMkLst>
            <pc:docMk/>
            <pc:sldMk cId="2230902843" sldId="2147374997"/>
            <ac:graphicFrameMk id="211" creationId="{E8EF3CC8-0AAA-E13C-BF43-4BF25DBFB32D}"/>
          </ac:graphicFrameMkLst>
        </pc:graphicFrameChg>
        <pc:graphicFrameChg chg="add del mod ord">
          <ac:chgData name="Ida Damsgaard" userId="8467f980-da15-4d4d-91b0-c43984527464" providerId="ADAL" clId="{0AB7D3AF-A425-4B49-BE15-72F242F07E3C}" dt="2026-03-09T08:18:51.003" v="17008"/>
          <ac:graphicFrameMkLst>
            <pc:docMk/>
            <pc:sldMk cId="2230902843" sldId="2147374997"/>
            <ac:graphicFrameMk id="213" creationId="{7039EF12-4711-21A2-67F4-1194818C4ACE}"/>
          </ac:graphicFrameMkLst>
        </pc:graphicFrameChg>
        <pc:graphicFrameChg chg="add del mod ord">
          <ac:chgData name="Ida Damsgaard" userId="8467f980-da15-4d4d-91b0-c43984527464" providerId="ADAL" clId="{0AB7D3AF-A425-4B49-BE15-72F242F07E3C}" dt="2026-03-09T08:19:00.158" v="17303"/>
          <ac:graphicFrameMkLst>
            <pc:docMk/>
            <pc:sldMk cId="2230902843" sldId="2147374997"/>
            <ac:graphicFrameMk id="223" creationId="{C6E310C0-3892-1FD6-3B16-4F7A4D510204}"/>
          </ac:graphicFrameMkLst>
        </pc:graphicFrameChg>
        <pc:graphicFrameChg chg="add del mod ord">
          <ac:chgData name="Ida Damsgaard" userId="8467f980-da15-4d4d-91b0-c43984527464" providerId="ADAL" clId="{0AB7D3AF-A425-4B49-BE15-72F242F07E3C}" dt="2026-03-09T08:19:17.604" v="17432"/>
          <ac:graphicFrameMkLst>
            <pc:docMk/>
            <pc:sldMk cId="2230902843" sldId="2147374997"/>
            <ac:graphicFrameMk id="225" creationId="{71A9D79C-A112-B118-0738-AA7839E62EA5}"/>
          </ac:graphicFrameMkLst>
        </pc:graphicFrameChg>
        <pc:graphicFrameChg chg="add del mod ord">
          <ac:chgData name="Ida Damsgaard" userId="8467f980-da15-4d4d-91b0-c43984527464" providerId="ADAL" clId="{0AB7D3AF-A425-4B49-BE15-72F242F07E3C}" dt="2026-03-09T08:19:21.318" v="17579"/>
          <ac:graphicFrameMkLst>
            <pc:docMk/>
            <pc:sldMk cId="2230902843" sldId="2147374997"/>
            <ac:graphicFrameMk id="227" creationId="{02CBAF5B-3779-4EB7-3D84-C5FBFC83423F}"/>
          </ac:graphicFrameMkLst>
        </pc:graphicFrameChg>
        <pc:graphicFrameChg chg="add del mod ord">
          <ac:chgData name="Ida Damsgaard" userId="8467f980-da15-4d4d-91b0-c43984527464" providerId="ADAL" clId="{0AB7D3AF-A425-4B49-BE15-72F242F07E3C}" dt="2026-03-09T08:19:43.799" v="17887"/>
          <ac:graphicFrameMkLst>
            <pc:docMk/>
            <pc:sldMk cId="2230902843" sldId="2147374997"/>
            <ac:graphicFrameMk id="229" creationId="{994A437D-5634-196D-E51C-A956639B512E}"/>
          </ac:graphicFrameMkLst>
        </pc:graphicFrameChg>
        <pc:graphicFrameChg chg="add del mod ord">
          <ac:chgData name="Ida Damsgaard" userId="8467f980-da15-4d4d-91b0-c43984527464" providerId="ADAL" clId="{0AB7D3AF-A425-4B49-BE15-72F242F07E3C}" dt="2026-03-09T08:19:48.445" v="19013"/>
          <ac:graphicFrameMkLst>
            <pc:docMk/>
            <pc:sldMk cId="2230902843" sldId="2147374997"/>
            <ac:graphicFrameMk id="237" creationId="{2DD1EB5E-D8D8-807E-9737-904B91BF883A}"/>
          </ac:graphicFrameMkLst>
        </pc:graphicFrameChg>
        <pc:graphicFrameChg chg="add del mod ord">
          <ac:chgData name="Ida Damsgaard" userId="8467f980-da15-4d4d-91b0-c43984527464" providerId="ADAL" clId="{0AB7D3AF-A425-4B49-BE15-72F242F07E3C}" dt="2026-03-09T08:19:53.095" v="20298"/>
          <ac:graphicFrameMkLst>
            <pc:docMk/>
            <pc:sldMk cId="2230902843" sldId="2147374997"/>
            <ac:graphicFrameMk id="263" creationId="{C72F3437-3DB4-7E49-29F9-AB4973450058}"/>
          </ac:graphicFrameMkLst>
        </pc:graphicFrameChg>
        <pc:graphicFrameChg chg="add del mod ord">
          <ac:chgData name="Ida Damsgaard" userId="8467f980-da15-4d4d-91b0-c43984527464" providerId="ADAL" clId="{0AB7D3AF-A425-4B49-BE15-72F242F07E3C}" dt="2026-03-09T08:19:54.173" v="20986"/>
          <ac:graphicFrameMkLst>
            <pc:docMk/>
            <pc:sldMk cId="2230902843" sldId="2147374997"/>
            <ac:graphicFrameMk id="281" creationId="{47E0626A-C127-C11E-512F-EB26AC1AEBE2}"/>
          </ac:graphicFrameMkLst>
        </pc:graphicFrameChg>
        <pc:graphicFrameChg chg="add del mod ord">
          <ac:chgData name="Ida Damsgaard" userId="8467f980-da15-4d4d-91b0-c43984527464" providerId="ADAL" clId="{0AB7D3AF-A425-4B49-BE15-72F242F07E3C}" dt="2026-03-09T08:19:58.464" v="21323"/>
          <ac:graphicFrameMkLst>
            <pc:docMk/>
            <pc:sldMk cId="2230902843" sldId="2147374997"/>
            <ac:graphicFrameMk id="283" creationId="{6B94D443-99C1-1705-A95B-5FE9E6C314A4}"/>
          </ac:graphicFrameMkLst>
        </pc:graphicFrameChg>
        <pc:graphicFrameChg chg="add mod ord">
          <ac:chgData name="Ida Damsgaard" userId="8467f980-da15-4d4d-91b0-c43984527464" providerId="ADAL" clId="{0AB7D3AF-A425-4B49-BE15-72F242F07E3C}" dt="2026-03-09T08:19:58.543" v="21421"/>
          <ac:graphicFrameMkLst>
            <pc:docMk/>
            <pc:sldMk cId="2230902843" sldId="2147374997"/>
            <ac:graphicFrameMk id="285" creationId="{391FB885-C9BA-60F3-9D25-9720FEC1F60C}"/>
          </ac:graphicFrameMkLst>
        </pc:graphicFrameChg>
        <pc:cxnChg chg="mod ord">
          <ac:chgData name="Ida Damsgaard" userId="8467f980-da15-4d4d-91b0-c43984527464" providerId="ADAL" clId="{0AB7D3AF-A425-4B49-BE15-72F242F07E3C}" dt="2026-03-09T08:19:58.527" v="21384"/>
          <ac:cxnSpMkLst>
            <pc:docMk/>
            <pc:sldMk cId="2230902843" sldId="2147374997"/>
            <ac:cxnSpMk id="7" creationId="{89D3480D-1281-B6A8-D8DD-22E94F9C3BFF}"/>
          </ac:cxnSpMkLst>
        </pc:cxnChg>
        <pc:cxnChg chg="mod ord">
          <ac:chgData name="Ida Damsgaard" userId="8467f980-da15-4d4d-91b0-c43984527464" providerId="ADAL" clId="{0AB7D3AF-A425-4B49-BE15-72F242F07E3C}" dt="2026-03-09T08:19:58.511" v="21356"/>
          <ac:cxnSpMkLst>
            <pc:docMk/>
            <pc:sldMk cId="2230902843" sldId="2147374997"/>
            <ac:cxnSpMk id="38" creationId="{D03EB756-ED3A-D109-46C9-F46E355558F5}"/>
          </ac:cxnSpMkLst>
        </pc:cxnChg>
        <pc:cxnChg chg="mod ord">
          <ac:chgData name="Ida Damsgaard" userId="8467f980-da15-4d4d-91b0-c43984527464" providerId="ADAL" clId="{0AB7D3AF-A425-4B49-BE15-72F242F07E3C}" dt="2026-03-09T08:19:58.511" v="21358"/>
          <ac:cxnSpMkLst>
            <pc:docMk/>
            <pc:sldMk cId="2230902843" sldId="2147374997"/>
            <ac:cxnSpMk id="39" creationId="{D6C42967-22FE-2BE3-524F-878BDAA27302}"/>
          </ac:cxnSpMkLst>
        </pc:cxnChg>
        <pc:cxnChg chg="mod ord">
          <ac:chgData name="Ida Damsgaard" userId="8467f980-da15-4d4d-91b0-c43984527464" providerId="ADAL" clId="{0AB7D3AF-A425-4B49-BE15-72F242F07E3C}" dt="2026-03-09T08:19:58.527" v="21360"/>
          <ac:cxnSpMkLst>
            <pc:docMk/>
            <pc:sldMk cId="2230902843" sldId="2147374997"/>
            <ac:cxnSpMk id="40" creationId="{3A59778D-C1D2-9F47-596D-929AD1A8D309}"/>
          </ac:cxnSpMkLst>
        </pc:cxnChg>
        <pc:cxnChg chg="mod ord">
          <ac:chgData name="Ida Damsgaard" userId="8467f980-da15-4d4d-91b0-c43984527464" providerId="ADAL" clId="{0AB7D3AF-A425-4B49-BE15-72F242F07E3C}" dt="2026-03-09T08:19:58.527" v="21362"/>
          <ac:cxnSpMkLst>
            <pc:docMk/>
            <pc:sldMk cId="2230902843" sldId="2147374997"/>
            <ac:cxnSpMk id="41" creationId="{068032B5-9F08-EF33-5FC6-7C8BD1448FD0}"/>
          </ac:cxnSpMkLst>
        </pc:cxnChg>
        <pc:cxnChg chg="mod ord">
          <ac:chgData name="Ida Damsgaard" userId="8467f980-da15-4d4d-91b0-c43984527464" providerId="ADAL" clId="{0AB7D3AF-A425-4B49-BE15-72F242F07E3C}" dt="2026-03-09T08:19:58.527" v="21364"/>
          <ac:cxnSpMkLst>
            <pc:docMk/>
            <pc:sldMk cId="2230902843" sldId="2147374997"/>
            <ac:cxnSpMk id="42" creationId="{3936BF47-9F33-A6FB-4DB9-7D1A0AE44F56}"/>
          </ac:cxnSpMkLst>
        </pc:cxnChg>
        <pc:cxnChg chg="mod ord">
          <ac:chgData name="Ida Damsgaard" userId="8467f980-da15-4d4d-91b0-c43984527464" providerId="ADAL" clId="{0AB7D3AF-A425-4B49-BE15-72F242F07E3C}" dt="2026-03-09T08:19:58.527" v="21366"/>
          <ac:cxnSpMkLst>
            <pc:docMk/>
            <pc:sldMk cId="2230902843" sldId="2147374997"/>
            <ac:cxnSpMk id="43" creationId="{F80636B2-C8D8-A6A2-3998-9C96FDA9687A}"/>
          </ac:cxnSpMkLst>
        </pc:cxnChg>
        <pc:cxnChg chg="mod ord">
          <ac:chgData name="Ida Damsgaard" userId="8467f980-da15-4d4d-91b0-c43984527464" providerId="ADAL" clId="{0AB7D3AF-A425-4B49-BE15-72F242F07E3C}" dt="2026-03-09T08:19:58.527" v="21368"/>
          <ac:cxnSpMkLst>
            <pc:docMk/>
            <pc:sldMk cId="2230902843" sldId="2147374997"/>
            <ac:cxnSpMk id="44" creationId="{3F4BB5CF-7EFC-505A-024B-2E8ABC58EF8A}"/>
          </ac:cxnSpMkLst>
        </pc:cxnChg>
        <pc:cxnChg chg="mod ord">
          <ac:chgData name="Ida Damsgaard" userId="8467f980-da15-4d4d-91b0-c43984527464" providerId="ADAL" clId="{0AB7D3AF-A425-4B49-BE15-72F242F07E3C}" dt="2026-03-09T08:19:58.527" v="21370"/>
          <ac:cxnSpMkLst>
            <pc:docMk/>
            <pc:sldMk cId="2230902843" sldId="2147374997"/>
            <ac:cxnSpMk id="45" creationId="{1AE61A97-F009-0D01-1EE7-4383801852E8}"/>
          </ac:cxnSpMkLst>
        </pc:cxnChg>
        <pc:cxnChg chg="mod ord">
          <ac:chgData name="Ida Damsgaard" userId="8467f980-da15-4d4d-91b0-c43984527464" providerId="ADAL" clId="{0AB7D3AF-A425-4B49-BE15-72F242F07E3C}" dt="2026-03-09T08:19:58.527" v="21372"/>
          <ac:cxnSpMkLst>
            <pc:docMk/>
            <pc:sldMk cId="2230902843" sldId="2147374997"/>
            <ac:cxnSpMk id="46" creationId="{95D46262-7029-EA0F-F82A-4B96D311BE60}"/>
          </ac:cxnSpMkLst>
        </pc:cxnChg>
        <pc:cxnChg chg="mod ord">
          <ac:chgData name="Ida Damsgaard" userId="8467f980-da15-4d4d-91b0-c43984527464" providerId="ADAL" clId="{0AB7D3AF-A425-4B49-BE15-72F242F07E3C}" dt="2026-03-09T08:19:58.527" v="21374"/>
          <ac:cxnSpMkLst>
            <pc:docMk/>
            <pc:sldMk cId="2230902843" sldId="2147374997"/>
            <ac:cxnSpMk id="47" creationId="{33E04CA0-6063-5852-B293-56EAFB86E46E}"/>
          </ac:cxnSpMkLst>
        </pc:cxnChg>
        <pc:cxnChg chg="mod ord">
          <ac:chgData name="Ida Damsgaard" userId="8467f980-da15-4d4d-91b0-c43984527464" providerId="ADAL" clId="{0AB7D3AF-A425-4B49-BE15-72F242F07E3C}" dt="2026-03-09T08:19:58.527" v="21376"/>
          <ac:cxnSpMkLst>
            <pc:docMk/>
            <pc:sldMk cId="2230902843" sldId="2147374997"/>
            <ac:cxnSpMk id="48" creationId="{70003CE2-ED3F-C988-223F-2563F1B13098}"/>
          </ac:cxnSpMkLst>
        </pc:cxnChg>
        <pc:cxnChg chg="add del mod ord">
          <ac:chgData name="Ida Damsgaard" userId="8467f980-da15-4d4d-91b0-c43984527464" providerId="ADAL" clId="{0AB7D3AF-A425-4B49-BE15-72F242F07E3C}" dt="2026-03-09T08:15:20.337" v="14044" actId="13822"/>
          <ac:cxnSpMkLst>
            <pc:docMk/>
            <pc:sldMk cId="2230902843" sldId="2147374997"/>
            <ac:cxnSpMk id="53" creationId="{6A141A8A-A03E-AB2E-96F1-A65403001D75}"/>
          </ac:cxnSpMkLst>
        </pc:cxnChg>
        <pc:cxnChg chg="add del mod ord">
          <ac:chgData name="Ida Damsgaard" userId="8467f980-da15-4d4d-91b0-c43984527464" providerId="ADAL" clId="{0AB7D3AF-A425-4B49-BE15-72F242F07E3C}" dt="2026-03-09T08:15:20.332" v="14031" actId="13822"/>
          <ac:cxnSpMkLst>
            <pc:docMk/>
            <pc:sldMk cId="2230902843" sldId="2147374997"/>
            <ac:cxnSpMk id="54" creationId="{C8EDFCBB-D3D9-6D1E-D289-FD493D71914E}"/>
          </ac:cxnSpMkLst>
        </pc:cxnChg>
        <pc:cxnChg chg="add del mod ord">
          <ac:chgData name="Ida Damsgaard" userId="8467f980-da15-4d4d-91b0-c43984527464" providerId="ADAL" clId="{0AB7D3AF-A425-4B49-BE15-72F242F07E3C}" dt="2026-03-09T08:15:20.325" v="14018" actId="13822"/>
          <ac:cxnSpMkLst>
            <pc:docMk/>
            <pc:sldMk cId="2230902843" sldId="2147374997"/>
            <ac:cxnSpMk id="55" creationId="{C2A92A31-9FF9-A1A9-C269-F78EEE02D86F}"/>
          </ac:cxnSpMkLst>
        </pc:cxnChg>
        <pc:cxnChg chg="add del mod ord">
          <ac:chgData name="Ida Damsgaard" userId="8467f980-da15-4d4d-91b0-c43984527464" providerId="ADAL" clId="{0AB7D3AF-A425-4B49-BE15-72F242F07E3C}" dt="2026-03-09T08:15:20.322" v="14005" actId="13822"/>
          <ac:cxnSpMkLst>
            <pc:docMk/>
            <pc:sldMk cId="2230902843" sldId="2147374997"/>
            <ac:cxnSpMk id="56" creationId="{2099911E-B9DE-0BD7-9C0C-70DAC4AD123E}"/>
          </ac:cxnSpMkLst>
        </pc:cxnChg>
        <pc:cxnChg chg="add del mod ord">
          <ac:chgData name="Ida Damsgaard" userId="8467f980-da15-4d4d-91b0-c43984527464" providerId="ADAL" clId="{0AB7D3AF-A425-4B49-BE15-72F242F07E3C}" dt="2026-03-09T08:15:20.315" v="13992" actId="13822"/>
          <ac:cxnSpMkLst>
            <pc:docMk/>
            <pc:sldMk cId="2230902843" sldId="2147374997"/>
            <ac:cxnSpMk id="57" creationId="{331D63BA-070B-F578-AEB9-1DCE2D1D49F7}"/>
          </ac:cxnSpMkLst>
        </pc:cxnChg>
        <pc:cxnChg chg="add del mod ord">
          <ac:chgData name="Ida Damsgaard" userId="8467f980-da15-4d4d-91b0-c43984527464" providerId="ADAL" clId="{0AB7D3AF-A425-4B49-BE15-72F242F07E3C}" dt="2026-03-09T08:15:19.640" v="13602" actId="13822"/>
          <ac:cxnSpMkLst>
            <pc:docMk/>
            <pc:sldMk cId="2230902843" sldId="2147374997"/>
            <ac:cxnSpMk id="70" creationId="{69687856-5F71-B2AE-FCE4-9DEE32BA6425}"/>
          </ac:cxnSpMkLst>
        </pc:cxnChg>
        <pc:cxnChg chg="add del mod ord">
          <ac:chgData name="Ida Damsgaard" userId="8467f980-da15-4d4d-91b0-c43984527464" providerId="ADAL" clId="{0AB7D3AF-A425-4B49-BE15-72F242F07E3C}" dt="2026-03-09T08:15:19.633" v="13578" actId="13822"/>
          <ac:cxnSpMkLst>
            <pc:docMk/>
            <pc:sldMk cId="2230902843" sldId="2147374997"/>
            <ac:cxnSpMk id="72" creationId="{1FFDFF25-C572-F26B-4321-A7F0B4EE2E3D}"/>
          </ac:cxnSpMkLst>
        </pc:cxnChg>
        <pc:cxnChg chg="add del mod ord">
          <ac:chgData name="Ida Damsgaard" userId="8467f980-da15-4d4d-91b0-c43984527464" providerId="ADAL" clId="{0AB7D3AF-A425-4B49-BE15-72F242F07E3C}" dt="2026-03-09T08:15:19.629" v="13567" actId="13822"/>
          <ac:cxnSpMkLst>
            <pc:docMk/>
            <pc:sldMk cId="2230902843" sldId="2147374997"/>
            <ac:cxnSpMk id="73" creationId="{8B030D54-46AA-DAB1-ABFA-12304A6DB1E3}"/>
          </ac:cxnSpMkLst>
        </pc:cxnChg>
        <pc:cxnChg chg="add del mod ord">
          <ac:chgData name="Ida Damsgaard" userId="8467f980-da15-4d4d-91b0-c43984527464" providerId="ADAL" clId="{0AB7D3AF-A425-4B49-BE15-72F242F07E3C}" dt="2026-03-09T08:15:19.617" v="13548" actId="13822"/>
          <ac:cxnSpMkLst>
            <pc:docMk/>
            <pc:sldMk cId="2230902843" sldId="2147374997"/>
            <ac:cxnSpMk id="74" creationId="{68239216-43FE-A3FC-BEF7-E7E3194938CA}"/>
          </ac:cxnSpMkLst>
        </pc:cxnChg>
        <pc:cxnChg chg="add del mod ord">
          <ac:chgData name="Ida Damsgaard" userId="8467f980-da15-4d4d-91b0-c43984527464" providerId="ADAL" clId="{0AB7D3AF-A425-4B49-BE15-72F242F07E3C}" dt="2026-03-09T08:15:19.608" v="13530" actId="13822"/>
          <ac:cxnSpMkLst>
            <pc:docMk/>
            <pc:sldMk cId="2230902843" sldId="2147374997"/>
            <ac:cxnSpMk id="81" creationId="{8D61B8DC-661C-73EF-61B9-D4032848E986}"/>
          </ac:cxnSpMkLst>
        </pc:cxnChg>
        <pc:cxnChg chg="add del mod ord">
          <ac:chgData name="Ida Damsgaard" userId="8467f980-da15-4d4d-91b0-c43984527464" providerId="ADAL" clId="{0AB7D3AF-A425-4B49-BE15-72F242F07E3C}" dt="2026-03-09T08:15:18.927" v="13439" actId="13822"/>
          <ac:cxnSpMkLst>
            <pc:docMk/>
            <pc:sldMk cId="2230902843" sldId="2147374997"/>
            <ac:cxnSpMk id="85" creationId="{A6884CD1-F21F-83CA-992E-3AEF2DB9D242}"/>
          </ac:cxnSpMkLst>
        </pc:cxnChg>
        <pc:cxnChg chg="mod ord">
          <ac:chgData name="Ida Damsgaard" userId="8467f980-da15-4d4d-91b0-c43984527464" providerId="ADAL" clId="{0AB7D3AF-A425-4B49-BE15-72F242F07E3C}" dt="2026-03-09T08:19:58.543" v="21413"/>
          <ac:cxnSpMkLst>
            <pc:docMk/>
            <pc:sldMk cId="2230902843" sldId="2147374997"/>
            <ac:cxnSpMk id="86" creationId="{073B1A8D-4CD3-3910-4C6B-18F9D544A7D1}"/>
          </ac:cxnSpMkLst>
        </pc:cxnChg>
        <pc:cxnChg chg="add del mod ord">
          <ac:chgData name="Ida Damsgaard" userId="8467f980-da15-4d4d-91b0-c43984527464" providerId="ADAL" clId="{0AB7D3AF-A425-4B49-BE15-72F242F07E3C}" dt="2026-03-09T08:15:18.155" v="13039" actId="13822"/>
          <ac:cxnSpMkLst>
            <pc:docMk/>
            <pc:sldMk cId="2230902843" sldId="2147374997"/>
            <ac:cxnSpMk id="97" creationId="{238E05FC-1B0C-D68A-043C-01F6AF872DA3}"/>
          </ac:cxnSpMkLst>
        </pc:cxnChg>
        <pc:cxnChg chg="add del mod ord">
          <ac:chgData name="Ida Damsgaard" userId="8467f980-da15-4d4d-91b0-c43984527464" providerId="ADAL" clId="{0AB7D3AF-A425-4B49-BE15-72F242F07E3C}" dt="2026-03-09T08:15:18.144" v="13023" actId="13822"/>
          <ac:cxnSpMkLst>
            <pc:docMk/>
            <pc:sldMk cId="2230902843" sldId="2147374997"/>
            <ac:cxnSpMk id="98" creationId="{DE301DB5-4ACE-A582-2DA5-F2483BC8C542}"/>
          </ac:cxnSpMkLst>
        </pc:cxnChg>
        <pc:cxnChg chg="add del mod ord">
          <ac:chgData name="Ida Damsgaard" userId="8467f980-da15-4d4d-91b0-c43984527464" providerId="ADAL" clId="{0AB7D3AF-A425-4B49-BE15-72F242F07E3C}" dt="2026-03-09T08:15:18.134" v="13013" actId="13822"/>
          <ac:cxnSpMkLst>
            <pc:docMk/>
            <pc:sldMk cId="2230902843" sldId="2147374997"/>
            <ac:cxnSpMk id="99" creationId="{460C7504-5958-9641-D5DC-F03C5199256D}"/>
          </ac:cxnSpMkLst>
        </pc:cxnChg>
        <pc:cxnChg chg="add del mod ord">
          <ac:chgData name="Ida Damsgaard" userId="8467f980-da15-4d4d-91b0-c43984527464" providerId="ADAL" clId="{0AB7D3AF-A425-4B49-BE15-72F242F07E3C}" dt="2026-03-09T08:15:18.125" v="13003" actId="13822"/>
          <ac:cxnSpMkLst>
            <pc:docMk/>
            <pc:sldMk cId="2230902843" sldId="2147374997"/>
            <ac:cxnSpMk id="100" creationId="{396C25C7-E3DE-C4D8-8683-B1529FD46588}"/>
          </ac:cxnSpMkLst>
        </pc:cxnChg>
        <pc:cxnChg chg="add del mod ord">
          <ac:chgData name="Ida Damsgaard" userId="8467f980-da15-4d4d-91b0-c43984527464" providerId="ADAL" clId="{0AB7D3AF-A425-4B49-BE15-72F242F07E3C}" dt="2026-03-09T08:15:18.120" v="12988" actId="13822"/>
          <ac:cxnSpMkLst>
            <pc:docMk/>
            <pc:sldMk cId="2230902843" sldId="2147374997"/>
            <ac:cxnSpMk id="101" creationId="{494CB51F-A517-C4E3-3DD3-1EAADFDD97D0}"/>
          </ac:cxnSpMkLst>
        </pc:cxnChg>
        <pc:cxnChg chg="add del mod ord">
          <ac:chgData name="Ida Damsgaard" userId="8467f980-da15-4d4d-91b0-c43984527464" providerId="ADAL" clId="{0AB7D3AF-A425-4B49-BE15-72F242F07E3C}" dt="2026-03-09T08:15:18.115" v="12973" actId="13822"/>
          <ac:cxnSpMkLst>
            <pc:docMk/>
            <pc:sldMk cId="2230902843" sldId="2147374997"/>
            <ac:cxnSpMk id="105" creationId="{7452393C-A8B3-92C7-6A31-3CDF225789D8}"/>
          </ac:cxnSpMkLst>
        </pc:cxnChg>
        <pc:cxnChg chg="add del mod ord">
          <ac:chgData name="Ida Damsgaard" userId="8467f980-da15-4d4d-91b0-c43984527464" providerId="ADAL" clId="{0AB7D3AF-A425-4B49-BE15-72F242F07E3C}" dt="2026-03-09T08:15:18.109" v="12963" actId="13822"/>
          <ac:cxnSpMkLst>
            <pc:docMk/>
            <pc:sldMk cId="2230902843" sldId="2147374997"/>
            <ac:cxnSpMk id="106" creationId="{F0D0694E-A7EB-EDFB-3B63-5F423ACDAB36}"/>
          </ac:cxnSpMkLst>
        </pc:cxnChg>
        <pc:cxnChg chg="add del mod ord">
          <ac:chgData name="Ida Damsgaard" userId="8467f980-da15-4d4d-91b0-c43984527464" providerId="ADAL" clId="{0AB7D3AF-A425-4B49-BE15-72F242F07E3C}" dt="2026-03-09T08:15:18.104" v="12953" actId="13822"/>
          <ac:cxnSpMkLst>
            <pc:docMk/>
            <pc:sldMk cId="2230902843" sldId="2147374997"/>
            <ac:cxnSpMk id="107" creationId="{95E546E7-FCF4-9894-CD1B-56DF641E8A30}"/>
          </ac:cxnSpMkLst>
        </pc:cxnChg>
        <pc:cxnChg chg="add del mod ord">
          <ac:chgData name="Ida Damsgaard" userId="8467f980-da15-4d4d-91b0-c43984527464" providerId="ADAL" clId="{0AB7D3AF-A425-4B49-BE15-72F242F07E3C}" dt="2026-03-09T08:15:18.098" v="12938" actId="13822"/>
          <ac:cxnSpMkLst>
            <pc:docMk/>
            <pc:sldMk cId="2230902843" sldId="2147374997"/>
            <ac:cxnSpMk id="108" creationId="{AC2DBA16-3717-98E3-BB47-42BA397B77C2}"/>
          </ac:cxnSpMkLst>
        </pc:cxnChg>
        <pc:cxnChg chg="add del mod ord">
          <ac:chgData name="Ida Damsgaard" userId="8467f980-da15-4d4d-91b0-c43984527464" providerId="ADAL" clId="{0AB7D3AF-A425-4B49-BE15-72F242F07E3C}" dt="2026-03-09T08:15:18.092" v="12928" actId="13822"/>
          <ac:cxnSpMkLst>
            <pc:docMk/>
            <pc:sldMk cId="2230902843" sldId="2147374997"/>
            <ac:cxnSpMk id="110" creationId="{D2706F84-04A6-B8F7-74CF-6A5BEA5AA7F1}"/>
          </ac:cxnSpMkLst>
        </pc:cxnChg>
        <pc:cxnChg chg="add del mod ord">
          <ac:chgData name="Ida Damsgaard" userId="8467f980-da15-4d4d-91b0-c43984527464" providerId="ADAL" clId="{0AB7D3AF-A425-4B49-BE15-72F242F07E3C}" dt="2026-03-09T08:15:17.008" v="12395" actId="13822"/>
          <ac:cxnSpMkLst>
            <pc:docMk/>
            <pc:sldMk cId="2230902843" sldId="2147374997"/>
            <ac:cxnSpMk id="127" creationId="{D94BB01C-5DB6-7979-C2AD-2739BB2E42F4}"/>
          </ac:cxnSpMkLst>
        </pc:cxnChg>
        <pc:cxnChg chg="add del mod ord">
          <ac:chgData name="Ida Damsgaard" userId="8467f980-da15-4d4d-91b0-c43984527464" providerId="ADAL" clId="{0AB7D3AF-A425-4B49-BE15-72F242F07E3C}" dt="2026-03-09T08:15:17.008" v="12381" actId="13822"/>
          <ac:cxnSpMkLst>
            <pc:docMk/>
            <pc:sldMk cId="2230902843" sldId="2147374997"/>
            <ac:cxnSpMk id="128" creationId="{E02E89E1-210A-6626-8BDD-54AB9494AE4A}"/>
          </ac:cxnSpMkLst>
        </pc:cxnChg>
        <pc:cxnChg chg="add del mod ord">
          <ac:chgData name="Ida Damsgaard" userId="8467f980-da15-4d4d-91b0-c43984527464" providerId="ADAL" clId="{0AB7D3AF-A425-4B49-BE15-72F242F07E3C}" dt="2026-03-09T08:15:17.006" v="12369" actId="13822"/>
          <ac:cxnSpMkLst>
            <pc:docMk/>
            <pc:sldMk cId="2230902843" sldId="2147374997"/>
            <ac:cxnSpMk id="129" creationId="{51AA39C1-1F2C-E6E4-001C-08E068789851}"/>
          </ac:cxnSpMkLst>
        </pc:cxnChg>
        <pc:cxnChg chg="add del mod ord">
          <ac:chgData name="Ida Damsgaard" userId="8467f980-da15-4d4d-91b0-c43984527464" providerId="ADAL" clId="{0AB7D3AF-A425-4B49-BE15-72F242F07E3C}" dt="2026-03-09T08:15:17.003" v="12360" actId="13822"/>
          <ac:cxnSpMkLst>
            <pc:docMk/>
            <pc:sldMk cId="2230902843" sldId="2147374997"/>
            <ac:cxnSpMk id="130" creationId="{23816444-A91C-CF13-4F08-C8F4F7E12E09}"/>
          </ac:cxnSpMkLst>
        </pc:cxnChg>
        <pc:cxnChg chg="add del mod ord">
          <ac:chgData name="Ida Damsgaard" userId="8467f980-da15-4d4d-91b0-c43984527464" providerId="ADAL" clId="{0AB7D3AF-A425-4B49-BE15-72F242F07E3C}" dt="2026-03-09T08:15:16.987" v="12338" actId="13822"/>
          <ac:cxnSpMkLst>
            <pc:docMk/>
            <pc:sldMk cId="2230902843" sldId="2147374997"/>
            <ac:cxnSpMk id="131" creationId="{CB56471D-E33D-2763-ED36-891D7CBCBE85}"/>
          </ac:cxnSpMkLst>
        </pc:cxnChg>
        <pc:cxnChg chg="add del mod ord">
          <ac:chgData name="Ida Damsgaard" userId="8467f980-da15-4d4d-91b0-c43984527464" providerId="ADAL" clId="{0AB7D3AF-A425-4B49-BE15-72F242F07E3C}" dt="2026-03-09T08:15:16.987" v="12328" actId="13822"/>
          <ac:cxnSpMkLst>
            <pc:docMk/>
            <pc:sldMk cId="2230902843" sldId="2147374997"/>
            <ac:cxnSpMk id="132" creationId="{124A4CCE-DC13-60A7-70A1-1CDF7E84E5F0}"/>
          </ac:cxnSpMkLst>
        </pc:cxnChg>
        <pc:cxnChg chg="add del mod ord">
          <ac:chgData name="Ida Damsgaard" userId="8467f980-da15-4d4d-91b0-c43984527464" providerId="ADAL" clId="{0AB7D3AF-A425-4B49-BE15-72F242F07E3C}" dt="2026-03-09T08:15:16.971" v="12310" actId="13822"/>
          <ac:cxnSpMkLst>
            <pc:docMk/>
            <pc:sldMk cId="2230902843" sldId="2147374997"/>
            <ac:cxnSpMk id="133" creationId="{AF2E5FFD-1BED-82E1-F9B7-37CEA365FD0D}"/>
          </ac:cxnSpMkLst>
        </pc:cxnChg>
        <pc:cxnChg chg="add del mod ord">
          <ac:chgData name="Ida Damsgaard" userId="8467f980-da15-4d4d-91b0-c43984527464" providerId="ADAL" clId="{0AB7D3AF-A425-4B49-BE15-72F242F07E3C}" dt="2026-03-09T08:15:16.971" v="12293" actId="13822"/>
          <ac:cxnSpMkLst>
            <pc:docMk/>
            <pc:sldMk cId="2230902843" sldId="2147374997"/>
            <ac:cxnSpMk id="134" creationId="{3F61FC53-C90E-12D5-525E-136D5C380EDA}"/>
          </ac:cxnSpMkLst>
        </pc:cxnChg>
        <pc:cxnChg chg="add del mod ord">
          <ac:chgData name="Ida Damsgaard" userId="8467f980-da15-4d4d-91b0-c43984527464" providerId="ADAL" clId="{0AB7D3AF-A425-4B49-BE15-72F242F07E3C}" dt="2026-03-09T08:15:16.955" v="12281" actId="13822"/>
          <ac:cxnSpMkLst>
            <pc:docMk/>
            <pc:sldMk cId="2230902843" sldId="2147374997"/>
            <ac:cxnSpMk id="135" creationId="{6F9A7730-6FB9-1E2D-0AB1-EB089D59ADBB}"/>
          </ac:cxnSpMkLst>
        </pc:cxnChg>
        <pc:cxnChg chg="add del mod ord">
          <ac:chgData name="Ida Damsgaard" userId="8467f980-da15-4d4d-91b0-c43984527464" providerId="ADAL" clId="{0AB7D3AF-A425-4B49-BE15-72F242F07E3C}" dt="2026-03-09T08:15:16.955" v="12272" actId="13822"/>
          <ac:cxnSpMkLst>
            <pc:docMk/>
            <pc:sldMk cId="2230902843" sldId="2147374997"/>
            <ac:cxnSpMk id="136" creationId="{0455F63E-63C9-C532-6370-431A89BFFA3D}"/>
          </ac:cxnSpMkLst>
        </pc:cxnChg>
        <pc:cxnChg chg="add del mod ord">
          <ac:chgData name="Ida Damsgaard" userId="8467f980-da15-4d4d-91b0-c43984527464" providerId="ADAL" clId="{0AB7D3AF-A425-4B49-BE15-72F242F07E3C}" dt="2026-03-09T08:15:16.955" v="12260" actId="13822"/>
          <ac:cxnSpMkLst>
            <pc:docMk/>
            <pc:sldMk cId="2230902843" sldId="2147374997"/>
            <ac:cxnSpMk id="137" creationId="{FE9B6715-754C-2063-E734-27A9EC20527D}"/>
          </ac:cxnSpMkLst>
        </pc:cxnChg>
        <pc:cxnChg chg="add del mod ord">
          <ac:chgData name="Ida Damsgaard" userId="8467f980-da15-4d4d-91b0-c43984527464" providerId="ADAL" clId="{0AB7D3AF-A425-4B49-BE15-72F242F07E3C}" dt="2026-03-09T08:15:16.955" v="12250" actId="13822"/>
          <ac:cxnSpMkLst>
            <pc:docMk/>
            <pc:sldMk cId="2230902843" sldId="2147374997"/>
            <ac:cxnSpMk id="138" creationId="{80BC83D9-A84E-0ED4-6326-C247EF19D565}"/>
          </ac:cxnSpMkLst>
        </pc:cxnChg>
        <pc:cxnChg chg="add del mod ord">
          <ac:chgData name="Ida Damsgaard" userId="8467f980-da15-4d4d-91b0-c43984527464" providerId="ADAL" clId="{0AB7D3AF-A425-4B49-BE15-72F242F07E3C}" dt="2026-03-09T08:15:16.945" v="12228" actId="13822"/>
          <ac:cxnSpMkLst>
            <pc:docMk/>
            <pc:sldMk cId="2230902843" sldId="2147374997"/>
            <ac:cxnSpMk id="139" creationId="{ECD8C939-548E-E6D0-A445-61AF172B6527}"/>
          </ac:cxnSpMkLst>
        </pc:cxnChg>
        <pc:cxnChg chg="add del mod ord">
          <ac:chgData name="Ida Damsgaard" userId="8467f980-da15-4d4d-91b0-c43984527464" providerId="ADAL" clId="{0AB7D3AF-A425-4B49-BE15-72F242F07E3C}" dt="2026-03-09T08:15:15.248" v="11407" actId="13822"/>
          <ac:cxnSpMkLst>
            <pc:docMk/>
            <pc:sldMk cId="2230902843" sldId="2147374997"/>
            <ac:cxnSpMk id="161" creationId="{934E9EE7-EBDF-EA08-301F-88A54B0130F7}"/>
          </ac:cxnSpMkLst>
        </pc:cxnChg>
        <pc:cxnChg chg="add del mod ord">
          <ac:chgData name="Ida Damsgaard" userId="8467f980-da15-4d4d-91b0-c43984527464" providerId="ADAL" clId="{0AB7D3AF-A425-4B49-BE15-72F242F07E3C}" dt="2026-03-09T08:15:15.229" v="11393" actId="13822"/>
          <ac:cxnSpMkLst>
            <pc:docMk/>
            <pc:sldMk cId="2230902843" sldId="2147374997"/>
            <ac:cxnSpMk id="162" creationId="{D6139D05-4DF9-BD19-505D-2CD7ACF267FB}"/>
          </ac:cxnSpMkLst>
        </pc:cxnChg>
        <pc:cxnChg chg="add del mod ord">
          <ac:chgData name="Ida Damsgaard" userId="8467f980-da15-4d4d-91b0-c43984527464" providerId="ADAL" clId="{0AB7D3AF-A425-4B49-BE15-72F242F07E3C}" dt="2026-03-09T08:15:15.229" v="11381" actId="13822"/>
          <ac:cxnSpMkLst>
            <pc:docMk/>
            <pc:sldMk cId="2230902843" sldId="2147374997"/>
            <ac:cxnSpMk id="163" creationId="{D1A37460-B7C4-1618-4FA9-8507077F44B6}"/>
          </ac:cxnSpMkLst>
        </pc:cxnChg>
        <pc:cxnChg chg="add del mod ord">
          <ac:chgData name="Ida Damsgaard" userId="8467f980-da15-4d4d-91b0-c43984527464" providerId="ADAL" clId="{0AB7D3AF-A425-4B49-BE15-72F242F07E3C}" dt="2026-03-09T08:15:15.229" v="11372" actId="13822"/>
          <ac:cxnSpMkLst>
            <pc:docMk/>
            <pc:sldMk cId="2230902843" sldId="2147374997"/>
            <ac:cxnSpMk id="164" creationId="{3039EF7B-0472-F208-13DE-FE05BEC37701}"/>
          </ac:cxnSpMkLst>
        </pc:cxnChg>
        <pc:cxnChg chg="add del mod ord">
          <ac:chgData name="Ida Damsgaard" userId="8467f980-da15-4d4d-91b0-c43984527464" providerId="ADAL" clId="{0AB7D3AF-A425-4B49-BE15-72F242F07E3C}" dt="2026-03-09T08:15:15.229" v="11353" actId="13822"/>
          <ac:cxnSpMkLst>
            <pc:docMk/>
            <pc:sldMk cId="2230902843" sldId="2147374997"/>
            <ac:cxnSpMk id="165" creationId="{E5F390CB-FBA7-F273-A810-DA49E5E26FC6}"/>
          </ac:cxnSpMkLst>
        </pc:cxnChg>
        <pc:cxnChg chg="add del mod ord">
          <ac:chgData name="Ida Damsgaard" userId="8467f980-da15-4d4d-91b0-c43984527464" providerId="ADAL" clId="{0AB7D3AF-A425-4B49-BE15-72F242F07E3C}" dt="2026-03-09T08:15:15.219" v="11343" actId="13822"/>
          <ac:cxnSpMkLst>
            <pc:docMk/>
            <pc:sldMk cId="2230902843" sldId="2147374997"/>
            <ac:cxnSpMk id="166" creationId="{F3A19F4A-E086-3883-7677-ACEBD1ECC4B9}"/>
          </ac:cxnSpMkLst>
        </pc:cxnChg>
        <pc:cxnChg chg="add del mod ord">
          <ac:chgData name="Ida Damsgaard" userId="8467f980-da15-4d4d-91b0-c43984527464" providerId="ADAL" clId="{0AB7D3AF-A425-4B49-BE15-72F242F07E3C}" dt="2026-03-09T08:15:15.215" v="11325" actId="13822"/>
          <ac:cxnSpMkLst>
            <pc:docMk/>
            <pc:sldMk cId="2230902843" sldId="2147374997"/>
            <ac:cxnSpMk id="167" creationId="{6849E305-C792-339F-8151-8C306C195E8F}"/>
          </ac:cxnSpMkLst>
        </pc:cxnChg>
        <pc:cxnChg chg="add del mod ord">
          <ac:chgData name="Ida Damsgaard" userId="8467f980-da15-4d4d-91b0-c43984527464" providerId="ADAL" clId="{0AB7D3AF-A425-4B49-BE15-72F242F07E3C}" dt="2026-03-09T08:15:15.205" v="11308" actId="13822"/>
          <ac:cxnSpMkLst>
            <pc:docMk/>
            <pc:sldMk cId="2230902843" sldId="2147374997"/>
            <ac:cxnSpMk id="168" creationId="{7776820B-B15D-3C2B-1600-4FC1E778F424}"/>
          </ac:cxnSpMkLst>
        </pc:cxnChg>
        <pc:cxnChg chg="add del mod ord">
          <ac:chgData name="Ida Damsgaard" userId="8467f980-da15-4d4d-91b0-c43984527464" providerId="ADAL" clId="{0AB7D3AF-A425-4B49-BE15-72F242F07E3C}" dt="2026-03-09T08:15:15.203" v="11296" actId="13822"/>
          <ac:cxnSpMkLst>
            <pc:docMk/>
            <pc:sldMk cId="2230902843" sldId="2147374997"/>
            <ac:cxnSpMk id="169" creationId="{8434CB9A-44B4-6DE4-6081-FB871CFA8503}"/>
          </ac:cxnSpMkLst>
        </pc:cxnChg>
        <pc:cxnChg chg="add del mod ord">
          <ac:chgData name="Ida Damsgaard" userId="8467f980-da15-4d4d-91b0-c43984527464" providerId="ADAL" clId="{0AB7D3AF-A425-4B49-BE15-72F242F07E3C}" dt="2026-03-09T08:15:15.198" v="11287" actId="13822"/>
          <ac:cxnSpMkLst>
            <pc:docMk/>
            <pc:sldMk cId="2230902843" sldId="2147374997"/>
            <ac:cxnSpMk id="170" creationId="{76039B36-9320-793A-3C3E-2DEDE8C75D94}"/>
          </ac:cxnSpMkLst>
        </pc:cxnChg>
        <pc:cxnChg chg="add del mod ord">
          <ac:chgData name="Ida Damsgaard" userId="8467f980-da15-4d4d-91b0-c43984527464" providerId="ADAL" clId="{0AB7D3AF-A425-4B49-BE15-72F242F07E3C}" dt="2026-03-09T08:15:15.190" v="11275" actId="13822"/>
          <ac:cxnSpMkLst>
            <pc:docMk/>
            <pc:sldMk cId="2230902843" sldId="2147374997"/>
            <ac:cxnSpMk id="171" creationId="{A44E99E8-5CC7-F4AA-2894-89FCD90EC25D}"/>
          </ac:cxnSpMkLst>
        </pc:cxnChg>
        <pc:cxnChg chg="add del mod ord">
          <ac:chgData name="Ida Damsgaard" userId="8467f980-da15-4d4d-91b0-c43984527464" providerId="ADAL" clId="{0AB7D3AF-A425-4B49-BE15-72F242F07E3C}" dt="2026-03-09T08:15:15.186" v="11265" actId="13822"/>
          <ac:cxnSpMkLst>
            <pc:docMk/>
            <pc:sldMk cId="2230902843" sldId="2147374997"/>
            <ac:cxnSpMk id="172" creationId="{AF79E73B-986A-FDC3-8D13-4CB68D7E66DF}"/>
          </ac:cxnSpMkLst>
        </pc:cxnChg>
        <pc:cxnChg chg="add del mod ord">
          <ac:chgData name="Ida Damsgaard" userId="8467f980-da15-4d4d-91b0-c43984527464" providerId="ADAL" clId="{0AB7D3AF-A425-4B49-BE15-72F242F07E3C}" dt="2026-03-09T08:15:15.176" v="11243" actId="13822"/>
          <ac:cxnSpMkLst>
            <pc:docMk/>
            <pc:sldMk cId="2230902843" sldId="2147374997"/>
            <ac:cxnSpMk id="173" creationId="{895F57A4-FE6E-02FC-FAB3-9E8C073B47B1}"/>
          </ac:cxnSpMkLst>
        </pc:cxnChg>
        <pc:cxnChg chg="mod ord">
          <ac:chgData name="Ida Damsgaard" userId="8467f980-da15-4d4d-91b0-c43984527464" providerId="ADAL" clId="{0AB7D3AF-A425-4B49-BE15-72F242F07E3C}" dt="2026-03-09T08:19:58.543" v="21425"/>
          <ac:cxnSpMkLst>
            <pc:docMk/>
            <pc:sldMk cId="2230902843" sldId="2147374997"/>
            <ac:cxnSpMk id="234" creationId="{465494D9-3999-2FD1-B3D6-ADE22769F48A}"/>
          </ac:cxnSpMkLst>
        </pc:cxnChg>
        <pc:cxnChg chg="add del mod ord">
          <ac:chgData name="Ida Damsgaard" userId="8467f980-da15-4d4d-91b0-c43984527464" providerId="ADAL" clId="{0AB7D3AF-A425-4B49-BE15-72F242F07E3C}" dt="2026-03-09T08:19:58.331" v="21244"/>
          <ac:cxnSpMkLst>
            <pc:docMk/>
            <pc:sldMk cId="2230902843" sldId="2147374997"/>
            <ac:cxnSpMk id="258" creationId="{253A58C2-35D7-0924-FD57-69AF876F116D}"/>
          </ac:cxnSpMkLst>
        </pc:cxnChg>
        <pc:cxnChg chg="add del mod ord">
          <ac:chgData name="Ida Damsgaard" userId="8467f980-da15-4d4d-91b0-c43984527464" providerId="ADAL" clId="{0AB7D3AF-A425-4B49-BE15-72F242F07E3C}" dt="2026-03-09T08:19:58.336" v="21253"/>
          <ac:cxnSpMkLst>
            <pc:docMk/>
            <pc:sldMk cId="2230902843" sldId="2147374997"/>
            <ac:cxnSpMk id="259" creationId="{03898D45-3864-C5A8-12E7-D4C38CAF01FF}"/>
          </ac:cxnSpMkLst>
        </pc:cxnChg>
        <pc:cxnChg chg="add del mod ord">
          <ac:chgData name="Ida Damsgaard" userId="8467f980-da15-4d4d-91b0-c43984527464" providerId="ADAL" clId="{0AB7D3AF-A425-4B49-BE15-72F242F07E3C}" dt="2026-03-09T08:19:58.336" v="21255"/>
          <ac:cxnSpMkLst>
            <pc:docMk/>
            <pc:sldMk cId="2230902843" sldId="2147374997"/>
            <ac:cxnSpMk id="260" creationId="{3781399F-5FA0-5D1C-CC15-C115A36B7F74}"/>
          </ac:cxnSpMkLst>
        </pc:cxnChg>
        <pc:cxnChg chg="add del mod ord">
          <ac:chgData name="Ida Damsgaard" userId="8467f980-da15-4d4d-91b0-c43984527464" providerId="ADAL" clId="{0AB7D3AF-A425-4B49-BE15-72F242F07E3C}" dt="2026-03-09T08:19:58.338" v="21261"/>
          <ac:cxnSpMkLst>
            <pc:docMk/>
            <pc:sldMk cId="2230902843" sldId="2147374997"/>
            <ac:cxnSpMk id="261" creationId="{65ECCB71-9E07-178B-179E-0CA35840C89A}"/>
          </ac:cxnSpMkLst>
        </pc:cxnChg>
        <pc:cxnChg chg="add del mod ord">
          <ac:chgData name="Ida Damsgaard" userId="8467f980-da15-4d4d-91b0-c43984527464" providerId="ADAL" clId="{0AB7D3AF-A425-4B49-BE15-72F242F07E3C}" dt="2026-03-09T08:19:58.342" v="21263"/>
          <ac:cxnSpMkLst>
            <pc:docMk/>
            <pc:sldMk cId="2230902843" sldId="2147374997"/>
            <ac:cxnSpMk id="262" creationId="{A9655566-8120-4FBC-2B22-BF4A50770E10}"/>
          </ac:cxnSpMkLst>
        </pc:cxnChg>
        <pc:cxnChg chg="add del mod ord">
          <ac:chgData name="Ida Damsgaard" userId="8467f980-da15-4d4d-91b0-c43984527464" providerId="ADAL" clId="{0AB7D3AF-A425-4B49-BE15-72F242F07E3C}" dt="2026-03-09T08:19:58.331" v="21247"/>
          <ac:cxnSpMkLst>
            <pc:docMk/>
            <pc:sldMk cId="2230902843" sldId="2147374997"/>
            <ac:cxnSpMk id="276" creationId="{330675A8-1337-14CC-DEFE-0A9B1C7F5119}"/>
          </ac:cxnSpMkLst>
        </pc:cxnChg>
        <pc:cxnChg chg="add del mod ord">
          <ac:chgData name="Ida Damsgaard" userId="8467f980-da15-4d4d-91b0-c43984527464" providerId="ADAL" clId="{0AB7D3AF-A425-4B49-BE15-72F242F07E3C}" dt="2026-03-09T08:19:54.109" v="20901"/>
          <ac:cxnSpMkLst>
            <pc:docMk/>
            <pc:sldMk cId="2230902843" sldId="2147374997"/>
            <ac:cxnSpMk id="277" creationId="{7D0B8D18-4698-26F6-CEA1-25D5D4EDD915}"/>
          </ac:cxnSpMkLst>
        </pc:cxnChg>
        <pc:cxnChg chg="add del mod ord">
          <ac:chgData name="Ida Damsgaard" userId="8467f980-da15-4d4d-91b0-c43984527464" providerId="ADAL" clId="{0AB7D3AF-A425-4B49-BE15-72F242F07E3C}" dt="2026-03-09T08:19:54.109" v="20915"/>
          <ac:cxnSpMkLst>
            <pc:docMk/>
            <pc:sldMk cId="2230902843" sldId="2147374997"/>
            <ac:cxnSpMk id="278" creationId="{F745BD04-555A-1982-55E7-3D9D692BAF44}"/>
          </ac:cxnSpMkLst>
        </pc:cxnChg>
        <pc:cxnChg chg="add del mod ord">
          <ac:chgData name="Ida Damsgaard" userId="8467f980-da15-4d4d-91b0-c43984527464" providerId="ADAL" clId="{0AB7D3AF-A425-4B49-BE15-72F242F07E3C}" dt="2026-03-09T08:19:58.338" v="21257"/>
          <ac:cxnSpMkLst>
            <pc:docMk/>
            <pc:sldMk cId="2230902843" sldId="2147374997"/>
            <ac:cxnSpMk id="279" creationId="{7A341AD8-A0D0-7F31-0DA7-D8FFEF583895}"/>
          </ac:cxnSpMkLst>
        </pc:cxnChg>
        <pc:cxnChg chg="add del mod ord">
          <ac:chgData name="Ida Damsgaard" userId="8467f980-da15-4d4d-91b0-c43984527464" providerId="ADAL" clId="{0AB7D3AF-A425-4B49-BE15-72F242F07E3C}" dt="2026-03-09T08:19:58.338" v="21259"/>
          <ac:cxnSpMkLst>
            <pc:docMk/>
            <pc:sldMk cId="2230902843" sldId="2147374997"/>
            <ac:cxnSpMk id="280" creationId="{9713BD90-8EBB-BC38-C455-9F5D7355F122}"/>
          </ac:cxnSpMkLst>
        </pc:cxnChg>
      </pc:sldChg>
      <pc:sldChg chg="addSp delSp modSp mod">
        <pc:chgData name="Ida Damsgaard" userId="8467f980-da15-4d4d-91b0-c43984527464" providerId="ADAL" clId="{0AB7D3AF-A425-4B49-BE15-72F242F07E3C}" dt="2026-03-09T10:15:44.997" v="21446"/>
        <pc:sldMkLst>
          <pc:docMk/>
          <pc:sldMk cId="4098510042" sldId="2147374998"/>
        </pc:sldMkLst>
        <pc:spChg chg="mod">
          <ac:chgData name="Ida Damsgaard" userId="8467f980-da15-4d4d-91b0-c43984527464" providerId="ADAL" clId="{0AB7D3AF-A425-4B49-BE15-72F242F07E3C}" dt="2026-03-09T07:10:27.005" v="363" actId="948"/>
          <ac:spMkLst>
            <pc:docMk/>
            <pc:sldMk cId="4098510042" sldId="2147374998"/>
            <ac:spMk id="2" creationId="{22F05E85-A669-B4A2-1444-EF3AD18C9981}"/>
          </ac:spMkLst>
        </pc:spChg>
        <pc:spChg chg="del">
          <ac:chgData name="Ida Damsgaard" userId="8467f980-da15-4d4d-91b0-c43984527464" providerId="ADAL" clId="{0AB7D3AF-A425-4B49-BE15-72F242F07E3C}" dt="2026-03-09T06:31:16.260" v="1" actId="478"/>
          <ac:spMkLst>
            <pc:docMk/>
            <pc:sldMk cId="4098510042" sldId="2147374998"/>
            <ac:spMk id="4" creationId="{FB4A5A01-6A5F-223E-5EB6-4C556FAFEBCD}"/>
          </ac:spMkLst>
        </pc:spChg>
        <pc:spChg chg="add del mod modVis">
          <ac:chgData name="Ida Damsgaard" userId="8467f980-da15-4d4d-91b0-c43984527464" providerId="ADAL" clId="{0AB7D3AF-A425-4B49-BE15-72F242F07E3C}" dt="2026-03-09T07:10:27.021" v="373"/>
          <ac:spMkLst>
            <pc:docMk/>
            <pc:sldMk cId="4098510042" sldId="2147374998"/>
            <ac:spMk id="16" creationId="{8D23B616-D974-2297-26A3-3278AB5B8103}"/>
          </ac:spMkLst>
        </pc:spChg>
        <pc:spChg chg="mod">
          <ac:chgData name="Ida Damsgaard" userId="8467f980-da15-4d4d-91b0-c43984527464" providerId="ADAL" clId="{0AB7D3AF-A425-4B49-BE15-72F242F07E3C}" dt="2026-03-09T07:10:26.961" v="340"/>
          <ac:spMkLst>
            <pc:docMk/>
            <pc:sldMk cId="4098510042" sldId="2147374998"/>
            <ac:spMk id="54" creationId="{D02983BC-9AAA-5B48-EF00-C76CC457D706}"/>
          </ac:spMkLst>
        </pc:spChg>
        <pc:spChg chg="mod">
          <ac:chgData name="Ida Damsgaard" userId="8467f980-da15-4d4d-91b0-c43984527464" providerId="ADAL" clId="{0AB7D3AF-A425-4B49-BE15-72F242F07E3C}" dt="2026-03-09T07:10:27" v="360"/>
          <ac:spMkLst>
            <pc:docMk/>
            <pc:sldMk cId="4098510042" sldId="2147374998"/>
            <ac:spMk id="55" creationId="{6B6D7D26-8B73-FC86-B9D3-753E9CFA0F93}"/>
          </ac:spMkLst>
        </pc:spChg>
        <pc:spChg chg="mod">
          <ac:chgData name="Ida Damsgaard" userId="8467f980-da15-4d4d-91b0-c43984527464" providerId="ADAL" clId="{0AB7D3AF-A425-4B49-BE15-72F242F07E3C}" dt="2026-03-09T10:15:44.997" v="21446"/>
          <ac:spMkLst>
            <pc:docMk/>
            <pc:sldMk cId="4098510042" sldId="2147374998"/>
            <ac:spMk id="115" creationId="{CD18C7ED-F2C0-6F54-6828-570263976458}"/>
          </ac:spMkLst>
        </pc:spChg>
        <pc:graphicFrameChg chg="mod">
          <ac:chgData name="Ida Damsgaard" userId="8467f980-da15-4d4d-91b0-c43984527464" providerId="ADAL" clId="{0AB7D3AF-A425-4B49-BE15-72F242F07E3C}" dt="2026-03-09T07:10:27.026" v="375"/>
          <ac:graphicFrameMkLst>
            <pc:docMk/>
            <pc:sldMk cId="4098510042" sldId="2147374998"/>
            <ac:graphicFrameMk id="58" creationId="{C37DAD7D-214A-F930-F01F-58606348E7A5}"/>
          </ac:graphicFrameMkLst>
        </pc:graphicFrameChg>
      </pc:sldChg>
      <pc:sldChg chg="modSp mod">
        <pc:chgData name="Ida Damsgaard" userId="8467f980-da15-4d4d-91b0-c43984527464" providerId="ADAL" clId="{0AB7D3AF-A425-4B49-BE15-72F242F07E3C}" dt="2026-03-10T07:25:03.770" v="21508" actId="20577"/>
        <pc:sldMkLst>
          <pc:docMk/>
          <pc:sldMk cId="80432105" sldId="2147375002"/>
        </pc:sldMkLst>
        <pc:spChg chg="mod">
          <ac:chgData name="Ida Damsgaard" userId="8467f980-da15-4d4d-91b0-c43984527464" providerId="ADAL" clId="{0AB7D3AF-A425-4B49-BE15-72F242F07E3C}" dt="2026-03-10T06:57:53.216" v="21492" actId="20577"/>
          <ac:spMkLst>
            <pc:docMk/>
            <pc:sldMk cId="80432105" sldId="2147375002"/>
            <ac:spMk id="68" creationId="{3DCA3D9E-3416-2406-9DC1-F046CBB3BC9E}"/>
          </ac:spMkLst>
        </pc:spChg>
        <pc:spChg chg="mod">
          <ac:chgData name="Ida Damsgaard" userId="8467f980-da15-4d4d-91b0-c43984527464" providerId="ADAL" clId="{0AB7D3AF-A425-4B49-BE15-72F242F07E3C}" dt="2026-03-09T10:15:55.967" v="21447"/>
          <ac:spMkLst>
            <pc:docMk/>
            <pc:sldMk cId="80432105" sldId="2147375002"/>
            <ac:spMk id="116" creationId="{BEEFE08D-5321-C4F7-9045-A0EFCD0E22AB}"/>
          </ac:spMkLst>
        </pc:spChg>
        <pc:spChg chg="mod">
          <ac:chgData name="Ida Damsgaard" userId="8467f980-da15-4d4d-91b0-c43984527464" providerId="ADAL" clId="{0AB7D3AF-A425-4B49-BE15-72F242F07E3C}" dt="2026-03-10T07:25:03.770" v="21508" actId="20577"/>
          <ac:spMkLst>
            <pc:docMk/>
            <pc:sldMk cId="80432105" sldId="2147375002"/>
            <ac:spMk id="118" creationId="{00E2C227-AE94-E407-75D3-65C5D7F6531D}"/>
          </ac:spMkLst>
        </pc:spChg>
      </pc:sldChg>
      <pc:sldChg chg="modSp">
        <pc:chgData name="Ida Damsgaard" userId="8467f980-da15-4d4d-91b0-c43984527464" providerId="ADAL" clId="{0AB7D3AF-A425-4B49-BE15-72F242F07E3C}" dt="2026-03-09T10:15:59.497" v="21448"/>
        <pc:sldMkLst>
          <pc:docMk/>
          <pc:sldMk cId="158239019" sldId="2147375003"/>
        </pc:sldMkLst>
        <pc:spChg chg="mod">
          <ac:chgData name="Ida Damsgaard" userId="8467f980-da15-4d4d-91b0-c43984527464" providerId="ADAL" clId="{0AB7D3AF-A425-4B49-BE15-72F242F07E3C}" dt="2026-03-09T10:15:59.497" v="21448"/>
          <ac:spMkLst>
            <pc:docMk/>
            <pc:sldMk cId="158239019" sldId="2147375003"/>
            <ac:spMk id="54" creationId="{6D3A22E5-2FB6-49E0-4D4A-93757A17F2C1}"/>
          </ac:spMkLst>
        </pc:spChg>
      </pc:sldChg>
      <pc:sldChg chg="modSp mod">
        <pc:chgData name="Ida Damsgaard" userId="8467f980-da15-4d4d-91b0-c43984527464" providerId="ADAL" clId="{0AB7D3AF-A425-4B49-BE15-72F242F07E3C}" dt="2026-03-09T10:16:03.210" v="21449"/>
        <pc:sldMkLst>
          <pc:docMk/>
          <pc:sldMk cId="2580230472" sldId="2147375004"/>
        </pc:sldMkLst>
        <pc:spChg chg="mod">
          <ac:chgData name="Ida Damsgaard" userId="8467f980-da15-4d4d-91b0-c43984527464" providerId="ADAL" clId="{0AB7D3AF-A425-4B49-BE15-72F242F07E3C}" dt="2026-03-09T10:16:03.210" v="21449"/>
          <ac:spMkLst>
            <pc:docMk/>
            <pc:sldMk cId="2580230472" sldId="2147375004"/>
            <ac:spMk id="15" creationId="{D4F51EFA-6C96-21B9-BCAC-007BD21E3B80}"/>
          </ac:spMkLst>
        </pc:spChg>
        <pc:spChg chg="mod">
          <ac:chgData name="Ida Damsgaard" userId="8467f980-da15-4d4d-91b0-c43984527464" providerId="ADAL" clId="{0AB7D3AF-A425-4B49-BE15-72F242F07E3C}" dt="2026-03-09T07:29:22.321" v="408" actId="20577"/>
          <ac:spMkLst>
            <pc:docMk/>
            <pc:sldMk cId="2580230472" sldId="2147375004"/>
            <ac:spMk id="17" creationId="{7CD6C6B3-7938-508A-6B31-7EAA263BA0B6}"/>
          </ac:spMkLst>
        </pc:spChg>
      </pc:sldChg>
      <pc:sldChg chg="modSp mod">
        <pc:chgData name="Ida Damsgaard" userId="8467f980-da15-4d4d-91b0-c43984527464" providerId="ADAL" clId="{0AB7D3AF-A425-4B49-BE15-72F242F07E3C}" dt="2026-03-09T10:15:24.042" v="21443" actId="20577"/>
        <pc:sldMkLst>
          <pc:docMk/>
          <pc:sldMk cId="1493936845" sldId="2147375006"/>
        </pc:sldMkLst>
        <pc:spChg chg="mod">
          <ac:chgData name="Ida Damsgaard" userId="8467f980-da15-4d4d-91b0-c43984527464" providerId="ADAL" clId="{0AB7D3AF-A425-4B49-BE15-72F242F07E3C}" dt="2026-03-09T06:41:26.491" v="22" actId="6549"/>
          <ac:spMkLst>
            <pc:docMk/>
            <pc:sldMk cId="1493936845" sldId="2147375006"/>
            <ac:spMk id="17" creationId="{BD7B821D-AB18-59B0-F4B5-B7EFDDF71686}"/>
          </ac:spMkLst>
        </pc:spChg>
        <pc:spChg chg="mod">
          <ac:chgData name="Ida Damsgaard" userId="8467f980-da15-4d4d-91b0-c43984527464" providerId="ADAL" clId="{0AB7D3AF-A425-4B49-BE15-72F242F07E3C}" dt="2026-03-09T10:15:24.042" v="21443" actId="20577"/>
          <ac:spMkLst>
            <pc:docMk/>
            <pc:sldMk cId="1493936845" sldId="2147375006"/>
            <ac:spMk id="35" creationId="{50E6A408-5946-1B9B-1589-3F87C7D48C4F}"/>
          </ac:spMkLst>
        </pc:spChg>
        <pc:spChg chg="mod">
          <ac:chgData name="Ida Damsgaard" userId="8467f980-da15-4d4d-91b0-c43984527464" providerId="ADAL" clId="{0AB7D3AF-A425-4B49-BE15-72F242F07E3C}" dt="2026-03-09T06:53:08.062" v="108" actId="114"/>
          <ac:spMkLst>
            <pc:docMk/>
            <pc:sldMk cId="1493936845" sldId="2147375006"/>
            <ac:spMk id="51" creationId="{31EED0A1-0D92-3E74-21E1-130A6733F851}"/>
          </ac:spMkLst>
        </pc:spChg>
        <pc:spChg chg="mod">
          <ac:chgData name="Ida Damsgaard" userId="8467f980-da15-4d4d-91b0-c43984527464" providerId="ADAL" clId="{0AB7D3AF-A425-4B49-BE15-72F242F07E3C}" dt="2026-03-09T06:44:15.788" v="23" actId="20577"/>
          <ac:spMkLst>
            <pc:docMk/>
            <pc:sldMk cId="1493936845" sldId="2147375006"/>
            <ac:spMk id="83" creationId="{8B576206-C2D3-34DA-4BCD-7916A29DD6D1}"/>
          </ac:spMkLst>
        </pc:spChg>
      </pc:sldChg>
      <pc:sldChg chg="modSp mod">
        <pc:chgData name="Ida Damsgaard" userId="8467f980-da15-4d4d-91b0-c43984527464" providerId="ADAL" clId="{0AB7D3AF-A425-4B49-BE15-72F242F07E3C}" dt="2026-03-09T10:15:32.973" v="21444"/>
        <pc:sldMkLst>
          <pc:docMk/>
          <pc:sldMk cId="2668111784" sldId="2147375007"/>
        </pc:sldMkLst>
        <pc:spChg chg="mod">
          <ac:chgData name="Ida Damsgaard" userId="8467f980-da15-4d4d-91b0-c43984527464" providerId="ADAL" clId="{0AB7D3AF-A425-4B49-BE15-72F242F07E3C}" dt="2026-03-09T10:15:32.973" v="21444"/>
          <ac:spMkLst>
            <pc:docMk/>
            <pc:sldMk cId="2668111784" sldId="2147375007"/>
            <ac:spMk id="7" creationId="{45562BA6-62D9-E566-3F4A-D146996E8844}"/>
          </ac:spMkLst>
        </pc:spChg>
        <pc:spChg chg="mod">
          <ac:chgData name="Ida Damsgaard" userId="8467f980-da15-4d4d-91b0-c43984527464" providerId="ADAL" clId="{0AB7D3AF-A425-4B49-BE15-72F242F07E3C}" dt="2026-03-09T06:58:49.692" v="197" actId="20577"/>
          <ac:spMkLst>
            <pc:docMk/>
            <pc:sldMk cId="2668111784" sldId="2147375007"/>
            <ac:spMk id="17" creationId="{568C3D5C-0CC5-C527-3C65-B8242C0C438D}"/>
          </ac:spMkLst>
        </pc:spChg>
        <pc:spChg chg="mod">
          <ac:chgData name="Ida Damsgaard" userId="8467f980-da15-4d4d-91b0-c43984527464" providerId="ADAL" clId="{0AB7D3AF-A425-4B49-BE15-72F242F07E3C}" dt="2026-03-09T07:09:09.634" v="332" actId="20577"/>
          <ac:spMkLst>
            <pc:docMk/>
            <pc:sldMk cId="2668111784" sldId="2147375007"/>
            <ac:spMk id="26" creationId="{418EBECD-240F-8440-9214-545644F48893}"/>
          </ac:spMkLst>
        </pc:spChg>
        <pc:spChg chg="mod">
          <ac:chgData name="Ida Damsgaard" userId="8467f980-da15-4d4d-91b0-c43984527464" providerId="ADAL" clId="{0AB7D3AF-A425-4B49-BE15-72F242F07E3C}" dt="2026-03-09T06:54:09.320" v="110" actId="20577"/>
          <ac:spMkLst>
            <pc:docMk/>
            <pc:sldMk cId="2668111784" sldId="2147375007"/>
            <ac:spMk id="95" creationId="{876C8C21-BB67-E346-5E44-AD754D3F7810}"/>
          </ac:spMkLst>
        </pc:spChg>
        <pc:spChg chg="mod">
          <ac:chgData name="Ida Damsgaard" userId="8467f980-da15-4d4d-91b0-c43984527464" providerId="ADAL" clId="{0AB7D3AF-A425-4B49-BE15-72F242F07E3C}" dt="2026-03-09T06:57:20.264" v="121" actId="14100"/>
          <ac:spMkLst>
            <pc:docMk/>
            <pc:sldMk cId="2668111784" sldId="2147375007"/>
            <ac:spMk id="96" creationId="{ABAA4CC9-9C6D-98A1-9F0E-76E2B8F7B508}"/>
          </ac:spMkLst>
        </pc:spChg>
        <pc:spChg chg="mod">
          <ac:chgData name="Ida Damsgaard" userId="8467f980-da15-4d4d-91b0-c43984527464" providerId="ADAL" clId="{0AB7D3AF-A425-4B49-BE15-72F242F07E3C}" dt="2026-03-09T06:55:17.704" v="115" actId="1076"/>
          <ac:spMkLst>
            <pc:docMk/>
            <pc:sldMk cId="2668111784" sldId="2147375007"/>
            <ac:spMk id="98" creationId="{D7D42F1D-E07A-5201-6777-A83B525C6E38}"/>
          </ac:spMkLst>
        </pc:spChg>
      </pc:sldChg>
    </pc:docChg>
  </pc:docChgLst>
  <pc:docChgLst>
    <pc:chgData name="Erik Sverker Nilsson" userId="22548527-6203-4306-93dc-07a1be0ef9ef" providerId="ADAL" clId="{2D15022E-9A2F-4084-8F07-ABD454A24669}"/>
    <pc:docChg chg="custSel addSld modSld">
      <pc:chgData name="Erik Sverker Nilsson" userId="22548527-6203-4306-93dc-07a1be0ef9ef" providerId="ADAL" clId="{2D15022E-9A2F-4084-8F07-ABD454A24669}" dt="2026-03-06T10:43:13.914" v="365" actId="20577"/>
      <pc:docMkLst>
        <pc:docMk/>
      </pc:docMkLst>
      <pc:sldChg chg="modSp add mod setBg">
        <pc:chgData name="Erik Sverker Nilsson" userId="22548527-6203-4306-93dc-07a1be0ef9ef" providerId="ADAL" clId="{2D15022E-9A2F-4084-8F07-ABD454A24669}" dt="2026-03-06T10:43:13.914" v="365" actId="20577"/>
        <pc:sldMkLst>
          <pc:docMk/>
          <pc:sldMk cId="121038729" sldId="2147374918"/>
        </pc:sldMkLst>
        <pc:spChg chg="mod">
          <ac:chgData name="Erik Sverker Nilsson" userId="22548527-6203-4306-93dc-07a1be0ef9ef" providerId="ADAL" clId="{2D15022E-9A2F-4084-8F07-ABD454A24669}" dt="2026-03-06T10:42:35.556" v="361" actId="20577"/>
          <ac:spMkLst>
            <pc:docMk/>
            <pc:sldMk cId="121038729" sldId="2147374918"/>
            <ac:spMk id="2" creationId="{EFCBE560-E12E-8BFD-B89C-DECD89C1E6F1}"/>
          </ac:spMkLst>
        </pc:spChg>
        <pc:spChg chg="mod">
          <ac:chgData name="Erik Sverker Nilsson" userId="22548527-6203-4306-93dc-07a1be0ef9ef" providerId="ADAL" clId="{2D15022E-9A2F-4084-8F07-ABD454A24669}" dt="2026-03-06T10:40:22.986" v="312" actId="947"/>
          <ac:spMkLst>
            <pc:docMk/>
            <pc:sldMk cId="121038729" sldId="2147374918"/>
            <ac:spMk id="7" creationId="{DE0E0BB8-4F40-9CBD-5FD6-905EDB5827C6}"/>
          </ac:spMkLst>
        </pc:spChg>
        <pc:spChg chg="mod">
          <ac:chgData name="Erik Sverker Nilsson" userId="22548527-6203-4306-93dc-07a1be0ef9ef" providerId="ADAL" clId="{2D15022E-9A2F-4084-8F07-ABD454A24669}" dt="2026-03-06T10:40:23.025" v="331" actId="790"/>
          <ac:spMkLst>
            <pc:docMk/>
            <pc:sldMk cId="121038729" sldId="2147374918"/>
            <ac:spMk id="9" creationId="{E0464850-67EF-8B35-ABB9-C7CB887614F9}"/>
          </ac:spMkLst>
        </pc:spChg>
        <pc:spChg chg="mod">
          <ac:chgData name="Erik Sverker Nilsson" userId="22548527-6203-4306-93dc-07a1be0ef9ef" providerId="ADAL" clId="{2D15022E-9A2F-4084-8F07-ABD454A24669}" dt="2026-03-06T10:40:22.983" v="308" actId="947"/>
          <ac:spMkLst>
            <pc:docMk/>
            <pc:sldMk cId="121038729" sldId="2147374918"/>
            <ac:spMk id="10" creationId="{783EA85B-5E10-E8D8-3978-7B8D042BB97D}"/>
          </ac:spMkLst>
        </pc:spChg>
        <pc:spChg chg="mod">
          <ac:chgData name="Erik Sverker Nilsson" userId="22548527-6203-4306-93dc-07a1be0ef9ef" providerId="ADAL" clId="{2D15022E-9A2F-4084-8F07-ABD454A24669}" dt="2026-03-06T10:40:23.025" v="331" actId="790"/>
          <ac:spMkLst>
            <pc:docMk/>
            <pc:sldMk cId="121038729" sldId="2147374918"/>
            <ac:spMk id="12" creationId="{416ADB4B-3508-E2CB-E58F-680D4F0932CD}"/>
          </ac:spMkLst>
        </pc:spChg>
        <pc:spChg chg="mod">
          <ac:chgData name="Erik Sverker Nilsson" userId="22548527-6203-4306-93dc-07a1be0ef9ef" providerId="ADAL" clId="{2D15022E-9A2F-4084-8F07-ABD454A24669}" dt="2026-03-06T10:40:23.025" v="331" actId="790"/>
          <ac:spMkLst>
            <pc:docMk/>
            <pc:sldMk cId="121038729" sldId="2147374918"/>
            <ac:spMk id="13" creationId="{ECF799B2-B0AD-1482-A1F3-B56B2268A620}"/>
          </ac:spMkLst>
        </pc:spChg>
        <pc:spChg chg="mod">
          <ac:chgData name="Erik Sverker Nilsson" userId="22548527-6203-4306-93dc-07a1be0ef9ef" providerId="ADAL" clId="{2D15022E-9A2F-4084-8F07-ABD454A24669}" dt="2026-03-06T10:40:23.025" v="331" actId="790"/>
          <ac:spMkLst>
            <pc:docMk/>
            <pc:sldMk cId="121038729" sldId="2147374918"/>
            <ac:spMk id="16" creationId="{E321B2B0-457C-7FC2-A80C-B9EC7D480A9E}"/>
          </ac:spMkLst>
        </pc:spChg>
        <pc:spChg chg="mod">
          <ac:chgData name="Erik Sverker Nilsson" userId="22548527-6203-4306-93dc-07a1be0ef9ef" providerId="ADAL" clId="{2D15022E-9A2F-4084-8F07-ABD454A24669}" dt="2026-03-06T10:40:22.998" v="318" actId="947"/>
          <ac:spMkLst>
            <pc:docMk/>
            <pc:sldMk cId="121038729" sldId="2147374918"/>
            <ac:spMk id="17" creationId="{62CDC07A-7A24-6B92-7AE6-22DB6C499789}"/>
          </ac:spMkLst>
        </pc:spChg>
        <pc:spChg chg="mod">
          <ac:chgData name="Erik Sverker Nilsson" userId="22548527-6203-4306-93dc-07a1be0ef9ef" providerId="ADAL" clId="{2D15022E-9A2F-4084-8F07-ABD454A24669}" dt="2026-03-06T10:40:23.025" v="331" actId="790"/>
          <ac:spMkLst>
            <pc:docMk/>
            <pc:sldMk cId="121038729" sldId="2147374918"/>
            <ac:spMk id="18" creationId="{175DC24A-C3A3-CE52-73FD-1E979E64D84D}"/>
          </ac:spMkLst>
        </pc:spChg>
        <pc:spChg chg="mod">
          <ac:chgData name="Erik Sverker Nilsson" userId="22548527-6203-4306-93dc-07a1be0ef9ef" providerId="ADAL" clId="{2D15022E-9A2F-4084-8F07-ABD454A24669}" dt="2026-03-06T10:40:27.861" v="337" actId="20577"/>
          <ac:spMkLst>
            <pc:docMk/>
            <pc:sldMk cId="121038729" sldId="2147374918"/>
            <ac:spMk id="20" creationId="{B5F3E2CA-DEFE-106D-84AE-4799B3D1873F}"/>
          </ac:spMkLst>
        </pc:spChg>
        <pc:spChg chg="mod">
          <ac:chgData name="Erik Sverker Nilsson" userId="22548527-6203-4306-93dc-07a1be0ef9ef" providerId="ADAL" clId="{2D15022E-9A2F-4084-8F07-ABD454A24669}" dt="2026-03-06T10:40:23.025" v="331" actId="790"/>
          <ac:spMkLst>
            <pc:docMk/>
            <pc:sldMk cId="121038729" sldId="2147374918"/>
            <ac:spMk id="33" creationId="{56636613-2EDB-5648-512D-37C44C02FFC4}"/>
          </ac:spMkLst>
        </pc:spChg>
        <pc:spChg chg="mod">
          <ac:chgData name="Erik Sverker Nilsson" userId="22548527-6203-4306-93dc-07a1be0ef9ef" providerId="ADAL" clId="{2D15022E-9A2F-4084-8F07-ABD454A24669}" dt="2026-03-06T10:40:23.025" v="331" actId="790"/>
          <ac:spMkLst>
            <pc:docMk/>
            <pc:sldMk cId="121038729" sldId="2147374918"/>
            <ac:spMk id="34" creationId="{85136170-4864-2694-38AB-97A8D9FE9E16}"/>
          </ac:spMkLst>
        </pc:spChg>
        <pc:spChg chg="mod">
          <ac:chgData name="Erik Sverker Nilsson" userId="22548527-6203-4306-93dc-07a1be0ef9ef" providerId="ADAL" clId="{2D15022E-9A2F-4084-8F07-ABD454A24669}" dt="2026-03-06T10:40:23.021" v="324" actId="947"/>
          <ac:spMkLst>
            <pc:docMk/>
            <pc:sldMk cId="121038729" sldId="2147374918"/>
            <ac:spMk id="35" creationId="{9800E2AB-5A36-7E44-0EB1-467A1C50F92C}"/>
          </ac:spMkLst>
        </pc:spChg>
        <pc:spChg chg="mod">
          <ac:chgData name="Erik Sverker Nilsson" userId="22548527-6203-4306-93dc-07a1be0ef9ef" providerId="ADAL" clId="{2D15022E-9A2F-4084-8F07-ABD454A24669}" dt="2026-03-06T10:43:13.914" v="365" actId="20577"/>
          <ac:spMkLst>
            <pc:docMk/>
            <pc:sldMk cId="121038729" sldId="2147374918"/>
            <ac:spMk id="38" creationId="{739C0053-8361-B105-31CD-6A2ADBAE9D42}"/>
          </ac:spMkLst>
        </pc:spChg>
        <pc:grpChg chg="mod">
          <ac:chgData name="Erik Sverker Nilsson" userId="22548527-6203-4306-93dc-07a1be0ef9ef" providerId="ADAL" clId="{2D15022E-9A2F-4084-8F07-ABD454A24669}" dt="2026-03-06T10:38:00.621" v="174"/>
          <ac:grpSpMkLst>
            <pc:docMk/>
            <pc:sldMk cId="121038729" sldId="2147374918"/>
            <ac:grpSpMk id="11" creationId="{42044AAD-9476-2D02-79C1-DC2A168162FD}"/>
          </ac:grpSpMkLst>
        </pc:grpChg>
        <pc:grpChg chg="mod">
          <ac:chgData name="Erik Sverker Nilsson" userId="22548527-6203-4306-93dc-07a1be0ef9ef" providerId="ADAL" clId="{2D15022E-9A2F-4084-8F07-ABD454A24669}" dt="2026-03-06T10:38:00.621" v="174"/>
          <ac:grpSpMkLst>
            <pc:docMk/>
            <pc:sldMk cId="121038729" sldId="2147374918"/>
            <ac:grpSpMk id="31" creationId="{0F8956AF-CE4D-1374-BB43-7096BF79389B}"/>
          </ac:grpSpMkLst>
        </pc:grpChg>
        <pc:graphicFrameChg chg="mod">
          <ac:chgData name="Erik Sverker Nilsson" userId="22548527-6203-4306-93dc-07a1be0ef9ef" providerId="ADAL" clId="{2D15022E-9A2F-4084-8F07-ABD454A24669}" dt="2026-03-06T10:40:23.532" v="333"/>
          <ac:graphicFrameMkLst>
            <pc:docMk/>
            <pc:sldMk cId="121038729" sldId="2147374918"/>
            <ac:graphicFrameMk id="8" creationId="{426C3010-4958-817F-DD25-90A604299229}"/>
          </ac:graphicFrameMkLst>
        </pc:graphicFrameChg>
        <pc:picChg chg="mod">
          <ac:chgData name="Erik Sverker Nilsson" userId="22548527-6203-4306-93dc-07a1be0ef9ef" providerId="ADAL" clId="{2D15022E-9A2F-4084-8F07-ABD454A24669}" dt="2026-03-06T10:38:00.621" v="174"/>
          <ac:picMkLst>
            <pc:docMk/>
            <pc:sldMk cId="121038729" sldId="2147374918"/>
            <ac:picMk id="15" creationId="{0C72DC65-6380-8731-8E5A-A263B6133D47}"/>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E579E_590BAACD.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7FFE579A_4CB4BE95.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7FFE579A_4CB4BE96.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7FFE579A_4CB4BE97.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7FFE579A_4CB4BE98.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7FFE579A_4CB4BE99.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7FFE579A_4CB4BE910.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7FFE579A_4CB4BE911.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7FFE579A_4CB4BE912.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7FFE579B_96E892B.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7FFE579B_96E892B13.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FE579E_590BAACD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E579F_9F0827A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FE579F_9F0827A8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7FFE5795_84F8E03B.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7FFE5795_84F8E03B3.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7FFE5796_F44A4CDA.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7FFE579A_4CB4BE9.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7FFE579A_4CB4BE94.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eifo.sharepoint.com/sites/AnalysisStrategy/Delte%20dokumenter/General/1.%20Analyse%20(egne)/2025-11%20Iv&#230;rks&#230;tteranalyser/Iv&#230;rks&#230;tteranalyse%202025/1.%20Data/2.%20Analyse/02-2025%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11261872455903E-2"/>
          <c:y val="2.4447578749412318E-2"/>
          <c:w val="0.97177747625508815"/>
          <c:h val="0.95110484250117533"/>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23524</c:v>
                </c:pt>
                <c:pt idx="1">
                  <c:v>20868</c:v>
                </c:pt>
                <c:pt idx="2">
                  <c:v>19303</c:v>
                </c:pt>
                <c:pt idx="3">
                  <c:v>19018</c:v>
                </c:pt>
                <c:pt idx="4">
                  <c:v>18894</c:v>
                </c:pt>
              </c:numCache>
            </c:numRef>
          </c:val>
          <c:extLst>
            <c:ext xmlns:c16="http://schemas.microsoft.com/office/drawing/2014/chart" uri="{C3380CC4-5D6E-409C-BE32-E72D297353CC}">
              <c16:uniqueId val="{00000000-9942-46FE-A913-33B49034E8F0}"/>
            </c:ext>
          </c:extLst>
        </c:ser>
        <c:ser>
          <c:idx val="1"/>
          <c:order val="1"/>
          <c:spPr>
            <a:solidFill>
              <a:schemeClr val="accent2"/>
            </a:solidFill>
            <a:ln>
              <a:noFill/>
            </a:ln>
          </c:spPr>
          <c:invertIfNegative val="0"/>
          <c:val>
            <c:numRef>
              <c:f>Sheet1!$A$2:$E$2</c:f>
              <c:numCache>
                <c:formatCode>General</c:formatCode>
                <c:ptCount val="5"/>
                <c:pt idx="0">
                  <c:v>18839</c:v>
                </c:pt>
                <c:pt idx="1">
                  <c:v>15382</c:v>
                </c:pt>
                <c:pt idx="2">
                  <c:v>14817</c:v>
                </c:pt>
                <c:pt idx="3">
                  <c:v>15049</c:v>
                </c:pt>
                <c:pt idx="4">
                  <c:v>18399</c:v>
                </c:pt>
              </c:numCache>
            </c:numRef>
          </c:val>
          <c:extLst>
            <c:ext xmlns:c16="http://schemas.microsoft.com/office/drawing/2014/chart" uri="{C3380CC4-5D6E-409C-BE32-E72D297353CC}">
              <c16:uniqueId val="{00000001-9942-46FE-A913-33B49034E8F0}"/>
            </c:ext>
          </c:extLst>
        </c:ser>
        <c:ser>
          <c:idx val="2"/>
          <c:order val="2"/>
          <c:spPr>
            <a:solidFill>
              <a:schemeClr val="accent3"/>
            </a:solidFill>
            <a:ln>
              <a:noFill/>
            </a:ln>
          </c:spPr>
          <c:invertIfNegative val="0"/>
          <c:val>
            <c:numRef>
              <c:f>Sheet1!$A$3:$E$3</c:f>
              <c:numCache>
                <c:formatCode>General</c:formatCode>
                <c:ptCount val="5"/>
                <c:pt idx="0">
                  <c:v>714</c:v>
                </c:pt>
                <c:pt idx="1">
                  <c:v>522</c:v>
                </c:pt>
                <c:pt idx="2">
                  <c:v>424</c:v>
                </c:pt>
                <c:pt idx="3">
                  <c:v>408</c:v>
                </c:pt>
                <c:pt idx="4">
                  <c:v>375</c:v>
                </c:pt>
              </c:numCache>
            </c:numRef>
          </c:val>
          <c:extLst>
            <c:ext xmlns:c16="http://schemas.microsoft.com/office/drawing/2014/chart" uri="{C3380CC4-5D6E-409C-BE32-E72D297353CC}">
              <c16:uniqueId val="{00000002-9942-46FE-A913-33B49034E8F0}"/>
            </c:ext>
          </c:extLst>
        </c:ser>
        <c:dLbls>
          <c:showLegendKey val="0"/>
          <c:showVal val="0"/>
          <c:showCatName val="0"/>
          <c:showSerName val="0"/>
          <c:showPercent val="0"/>
          <c:showBubbleSize val="0"/>
        </c:dLbls>
        <c:gapWidth val="80"/>
        <c:overlap val="100"/>
        <c:axId val="703659600"/>
        <c:axId val="1"/>
      </c:barChart>
      <c:catAx>
        <c:axId val="7036596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077"/>
          <c:min val="0"/>
        </c:scaling>
        <c:delete val="1"/>
        <c:axPos val="l"/>
        <c:numFmt formatCode="General" sourceLinked="1"/>
        <c:majorTickMark val="out"/>
        <c:minorTickMark val="none"/>
        <c:tickLblPos val="nextTo"/>
        <c:crossAx val="70365960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40313111545987E-2"/>
          <c:y val="0.22291993720565148"/>
          <c:w val="0.94911937377690803"/>
          <c:h val="0.55416012558869698"/>
        </c:manualLayout>
      </c:layout>
      <c:barChart>
        <c:barDir val="col"/>
        <c:grouping val="stacked"/>
        <c:varyColors val="0"/>
        <c:ser>
          <c:idx val="0"/>
          <c:order val="0"/>
          <c:spPr>
            <a:solidFill>
              <a:schemeClr val="accent1"/>
            </a:solidFill>
            <a:ln>
              <a:noFill/>
            </a:ln>
          </c:spPr>
          <c:invertIfNegative val="0"/>
          <c:dLbls>
            <c:dLbl>
              <c:idx val="0"/>
              <c:layout>
                <c:manualLayout>
                  <c:x val="0"/>
                  <c:y val="-4.709576138147566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35-435D-A52C-8FA5F640DE10}"/>
                </c:ext>
              </c:extLst>
            </c:dLbl>
            <c:dLbl>
              <c:idx val="1"/>
              <c:layout>
                <c:manualLayout>
                  <c:x val="0"/>
                  <c:y val="-4.709576138147566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35-435D-A52C-8FA5F640DE10}"/>
                </c:ext>
              </c:extLst>
            </c:dLbl>
            <c:dLbl>
              <c:idx val="2"/>
              <c:layout>
                <c:manualLayout>
                  <c:x val="0"/>
                  <c:y val="-4.709576138147566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35-435D-A52C-8FA5F640DE10}"/>
                </c:ext>
              </c:extLst>
            </c:dLbl>
            <c:dLbl>
              <c:idx val="3"/>
              <c:layout>
                <c:manualLayout>
                  <c:x val="0"/>
                  <c:y val="-4.709576138147566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35-435D-A52C-8FA5F640DE10}"/>
                </c:ext>
              </c:extLst>
            </c:dLbl>
            <c:dLbl>
              <c:idx val="4"/>
              <c:layout>
                <c:manualLayout>
                  <c:x val="0"/>
                  <c:y val="-4.709576138147566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35-435D-A52C-8FA5F640DE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5</c:v>
                </c:pt>
                <c:pt idx="1">
                  <c:v>8.1</c:v>
                </c:pt>
                <c:pt idx="2">
                  <c:v>7.5</c:v>
                </c:pt>
                <c:pt idx="3">
                  <c:v>7.2</c:v>
                </c:pt>
                <c:pt idx="4">
                  <c:v>8</c:v>
                </c:pt>
              </c:numCache>
            </c:numRef>
          </c:val>
          <c:extLst>
            <c:ext xmlns:c16="http://schemas.microsoft.com/office/drawing/2014/chart" uri="{C3380CC4-5D6E-409C-BE32-E72D297353CC}">
              <c16:uniqueId val="{00000005-9135-435D-A52C-8FA5F640DE10}"/>
            </c:ext>
          </c:extLst>
        </c:ser>
        <c:dLbls>
          <c:showLegendKey val="0"/>
          <c:showVal val="0"/>
          <c:showCatName val="0"/>
          <c:showSerName val="0"/>
          <c:showPercent val="0"/>
          <c:showBubbleSize val="0"/>
        </c:dLbls>
        <c:gapWidth val="200"/>
        <c:overlap val="100"/>
        <c:axId val="697905536"/>
        <c:axId val="1"/>
      </c:barChart>
      <c:catAx>
        <c:axId val="69790553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9.5"/>
          <c:min val="0"/>
        </c:scaling>
        <c:delete val="1"/>
        <c:axPos val="l"/>
        <c:numFmt formatCode="General" sourceLinked="1"/>
        <c:majorTickMark val="out"/>
        <c:minorTickMark val="none"/>
        <c:tickLblPos val="nextTo"/>
        <c:crossAx val="69790553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40313111545987E-2"/>
          <c:y val="0.24232081911262798"/>
          <c:w val="0.94911937377690803"/>
          <c:h val="0.51535836177474403"/>
        </c:manualLayout>
      </c:layout>
      <c:barChart>
        <c:barDir val="col"/>
        <c:grouping val="stacked"/>
        <c:varyColors val="0"/>
        <c:ser>
          <c:idx val="0"/>
          <c:order val="0"/>
          <c:spPr>
            <a:solidFill>
              <a:schemeClr val="accent2"/>
            </a:solidFill>
            <a:ln>
              <a:noFill/>
            </a:ln>
          </c:spPr>
          <c:invertIfNegative val="0"/>
          <c:dLbls>
            <c:dLbl>
              <c:idx val="0"/>
              <c:layout>
                <c:manualLayout>
                  <c:x val="0"/>
                  <c:y val="-5.1194539249146756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CE-4802-BC6A-6497C5CA401F}"/>
                </c:ext>
              </c:extLst>
            </c:dLbl>
            <c:dLbl>
              <c:idx val="1"/>
              <c:layout>
                <c:manualLayout>
                  <c:x val="0"/>
                  <c:y val="-6.8259385665529011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CE-4802-BC6A-6497C5CA401F}"/>
                </c:ext>
              </c:extLst>
            </c:dLbl>
            <c:dLbl>
              <c:idx val="2"/>
              <c:layout>
                <c:manualLayout>
                  <c:x val="0"/>
                  <c:y val="-5.1194539249146756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CE-4802-BC6A-6497C5CA401F}"/>
                </c:ext>
              </c:extLst>
            </c:dLbl>
            <c:dLbl>
              <c:idx val="3"/>
              <c:layout>
                <c:manualLayout>
                  <c:x val="0"/>
                  <c:y val="-5.1194539249146756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CE-4802-BC6A-6497C5CA401F}"/>
                </c:ext>
              </c:extLst>
            </c:dLbl>
            <c:dLbl>
              <c:idx val="4"/>
              <c:layout>
                <c:manualLayout>
                  <c:x val="0"/>
                  <c:y val="-5.1194539249146756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CE-4802-BC6A-6497C5CA40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7</c:v>
                </c:pt>
                <c:pt idx="1">
                  <c:v>5.6</c:v>
                </c:pt>
                <c:pt idx="2">
                  <c:v>5.0999999999999996</c:v>
                </c:pt>
                <c:pt idx="3">
                  <c:v>5.0999999999999996</c:v>
                </c:pt>
                <c:pt idx="4">
                  <c:v>5.5</c:v>
                </c:pt>
              </c:numCache>
            </c:numRef>
          </c:val>
          <c:extLst>
            <c:ext xmlns:c16="http://schemas.microsoft.com/office/drawing/2014/chart" uri="{C3380CC4-5D6E-409C-BE32-E72D297353CC}">
              <c16:uniqueId val="{00000005-C1CE-4802-BC6A-6497C5CA401F}"/>
            </c:ext>
          </c:extLst>
        </c:ser>
        <c:dLbls>
          <c:showLegendKey val="0"/>
          <c:showVal val="0"/>
          <c:showCatName val="0"/>
          <c:showSerName val="0"/>
          <c:showPercent val="0"/>
          <c:showBubbleSize val="0"/>
        </c:dLbls>
        <c:gapWidth val="200"/>
        <c:overlap val="100"/>
        <c:axId val="697916576"/>
        <c:axId val="1"/>
      </c:barChart>
      <c:catAx>
        <c:axId val="69791657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7"/>
          <c:min val="0"/>
        </c:scaling>
        <c:delete val="1"/>
        <c:axPos val="l"/>
        <c:numFmt formatCode="General" sourceLinked="1"/>
        <c:majorTickMark val="out"/>
        <c:minorTickMark val="none"/>
        <c:tickLblPos val="nextTo"/>
        <c:crossAx val="697916576"/>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40313111545987E-2"/>
          <c:y val="0.24190800681431004"/>
          <c:w val="0.94911937377690803"/>
          <c:h val="0.51618398637137985"/>
        </c:manualLayout>
      </c:layout>
      <c:barChart>
        <c:barDir val="col"/>
        <c:grouping val="stacked"/>
        <c:varyColors val="0"/>
        <c:ser>
          <c:idx val="0"/>
          <c:order val="0"/>
          <c:spPr>
            <a:solidFill>
              <a:schemeClr val="accent4"/>
            </a:solidFill>
            <a:ln>
              <a:noFill/>
            </a:ln>
          </c:spPr>
          <c:invertIfNegative val="0"/>
          <c:dLbls>
            <c:dLbl>
              <c:idx val="0"/>
              <c:layout>
                <c:manualLayout>
                  <c:x val="0"/>
                  <c:y val="-5.110732538330493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C9-403B-9E4B-39351231C724}"/>
                </c:ext>
              </c:extLst>
            </c:dLbl>
            <c:dLbl>
              <c:idx val="1"/>
              <c:layout>
                <c:manualLayout>
                  <c:x val="0"/>
                  <c:y val="-5.110732538330493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C9-403B-9E4B-39351231C724}"/>
                </c:ext>
              </c:extLst>
            </c:dLbl>
            <c:dLbl>
              <c:idx val="2"/>
              <c:layout>
                <c:manualLayout>
                  <c:x val="0"/>
                  <c:y val="-5.110732538330493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C9-403B-9E4B-39351231C724}"/>
                </c:ext>
              </c:extLst>
            </c:dLbl>
            <c:dLbl>
              <c:idx val="3"/>
              <c:layout>
                <c:manualLayout>
                  <c:x val="0"/>
                  <c:y val="-5.110732538330493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C9-403B-9E4B-39351231C724}"/>
                </c:ext>
              </c:extLst>
            </c:dLbl>
            <c:dLbl>
              <c:idx val="4"/>
              <c:layout>
                <c:manualLayout>
                  <c:x val="0"/>
                  <c:y val="-5.110732538330493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C9-403B-9E4B-39351231C7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3</c:v>
                </c:pt>
                <c:pt idx="1">
                  <c:v>5.2</c:v>
                </c:pt>
                <c:pt idx="2">
                  <c:v>5</c:v>
                </c:pt>
                <c:pt idx="3">
                  <c:v>4.8</c:v>
                </c:pt>
                <c:pt idx="4">
                  <c:v>5</c:v>
                </c:pt>
              </c:numCache>
            </c:numRef>
          </c:val>
          <c:extLst>
            <c:ext xmlns:c16="http://schemas.microsoft.com/office/drawing/2014/chart" uri="{C3380CC4-5D6E-409C-BE32-E72D297353CC}">
              <c16:uniqueId val="{00000005-35C9-403B-9E4B-39351231C724}"/>
            </c:ext>
          </c:extLst>
        </c:ser>
        <c:dLbls>
          <c:showLegendKey val="0"/>
          <c:showVal val="0"/>
          <c:showCatName val="0"/>
          <c:showSerName val="0"/>
          <c:showPercent val="0"/>
          <c:showBubbleSize val="0"/>
        </c:dLbls>
        <c:gapWidth val="200"/>
        <c:overlap val="100"/>
        <c:axId val="697916096"/>
        <c:axId val="1"/>
      </c:barChart>
      <c:catAx>
        <c:axId val="69791609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3"/>
          <c:min val="0"/>
        </c:scaling>
        <c:delete val="1"/>
        <c:axPos val="l"/>
        <c:numFmt formatCode="General" sourceLinked="1"/>
        <c:majorTickMark val="out"/>
        <c:minorTickMark val="none"/>
        <c:tickLblPos val="nextTo"/>
        <c:crossAx val="69791609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746031746031746"/>
          <c:y val="0.22977346278317151"/>
          <c:w val="0.25158730158730158"/>
          <c:h val="0.54045307443365698"/>
        </c:manualLayout>
      </c:layout>
      <c:barChart>
        <c:barDir val="col"/>
        <c:grouping val="stacked"/>
        <c:varyColors val="0"/>
        <c:ser>
          <c:idx val="0"/>
          <c:order val="0"/>
          <c:spPr>
            <a:solidFill>
              <a:schemeClr val="accent1"/>
            </a:solidFill>
            <a:ln>
              <a:noFill/>
            </a:ln>
          </c:spPr>
          <c:invertIfNegative val="0"/>
          <c:dLbls>
            <c:dLbl>
              <c:idx val="0"/>
              <c:layout>
                <c:manualLayout>
                  <c:x val="0"/>
                  <c:y val="-4.8543689320388345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06-4B35-8797-51FE0ED088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199999999999999</c:v>
                </c:pt>
              </c:numCache>
            </c:numRef>
          </c:val>
          <c:extLst>
            <c:ext xmlns:c16="http://schemas.microsoft.com/office/drawing/2014/chart" uri="{C3380CC4-5D6E-409C-BE32-E72D297353CC}">
              <c16:uniqueId val="{00000001-CC06-4B35-8797-51FE0ED088E0}"/>
            </c:ext>
          </c:extLst>
        </c:ser>
        <c:dLbls>
          <c:showLegendKey val="0"/>
          <c:showVal val="0"/>
          <c:showCatName val="0"/>
          <c:showSerName val="0"/>
          <c:showPercent val="0"/>
          <c:showBubbleSize val="0"/>
        </c:dLbls>
        <c:gapWidth val="80"/>
        <c:overlap val="100"/>
        <c:axId val="697791296"/>
        <c:axId val="1"/>
      </c:barChart>
      <c:catAx>
        <c:axId val="6977912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99999999999999"/>
          <c:min val="0"/>
        </c:scaling>
        <c:delete val="1"/>
        <c:axPos val="l"/>
        <c:numFmt formatCode="General" sourceLinked="1"/>
        <c:majorTickMark val="out"/>
        <c:minorTickMark val="none"/>
        <c:tickLblPos val="nextTo"/>
        <c:crossAx val="697791296"/>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09803921568627"/>
          <c:y val="0.24652777777777779"/>
          <c:w val="0.3107843137254902"/>
          <c:h val="0.50694444444444442"/>
        </c:manualLayout>
      </c:layout>
      <c:barChart>
        <c:barDir val="col"/>
        <c:grouping val="stacked"/>
        <c:varyColors val="0"/>
        <c:ser>
          <c:idx val="0"/>
          <c:order val="0"/>
          <c:spPr>
            <a:solidFill>
              <a:srgbClr val="D6D7D9"/>
            </a:solidFill>
            <a:ln>
              <a:noFill/>
            </a:ln>
          </c:spPr>
          <c:invertIfNegative val="0"/>
          <c:dLbls>
            <c:dLbl>
              <c:idx val="0"/>
              <c:layout>
                <c:manualLayout>
                  <c:x val="0"/>
                  <c:y val="-5.208333333333333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53-4CE7-AE01-8D1523D105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3</c:v>
                </c:pt>
              </c:numCache>
            </c:numRef>
          </c:val>
          <c:extLst>
            <c:ext xmlns:c16="http://schemas.microsoft.com/office/drawing/2014/chart" uri="{C3380CC4-5D6E-409C-BE32-E72D297353CC}">
              <c16:uniqueId val="{00000001-0953-4CE7-AE01-8D1523D10524}"/>
            </c:ext>
          </c:extLst>
        </c:ser>
        <c:dLbls>
          <c:showLegendKey val="0"/>
          <c:showVal val="0"/>
          <c:showCatName val="0"/>
          <c:showSerName val="0"/>
          <c:showPercent val="0"/>
          <c:showBubbleSize val="0"/>
        </c:dLbls>
        <c:gapWidth val="80"/>
        <c:overlap val="100"/>
        <c:axId val="697831616"/>
        <c:axId val="1"/>
      </c:barChart>
      <c:catAx>
        <c:axId val="697831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
          <c:min val="0"/>
        </c:scaling>
        <c:delete val="1"/>
        <c:axPos val="l"/>
        <c:numFmt formatCode="General" sourceLinked="1"/>
        <c:majorTickMark val="out"/>
        <c:minorTickMark val="none"/>
        <c:tickLblPos val="nextTo"/>
        <c:crossAx val="69783161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09803921568627"/>
          <c:y val="0.24190800681431004"/>
          <c:w val="0.3107843137254902"/>
          <c:h val="0.51618398637137985"/>
        </c:manualLayout>
      </c:layout>
      <c:barChart>
        <c:barDir val="col"/>
        <c:grouping val="stacked"/>
        <c:varyColors val="0"/>
        <c:ser>
          <c:idx val="0"/>
          <c:order val="0"/>
          <c:spPr>
            <a:solidFill>
              <a:schemeClr val="accent4"/>
            </a:solidFill>
            <a:ln>
              <a:noFill/>
            </a:ln>
          </c:spPr>
          <c:invertIfNegative val="0"/>
          <c:dLbls>
            <c:dLbl>
              <c:idx val="0"/>
              <c:layout>
                <c:manualLayout>
                  <c:x val="0"/>
                  <c:y val="-6.8143100511073255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51-4DA3-A164-449E2BB5E4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5</c:v>
                </c:pt>
              </c:numCache>
            </c:numRef>
          </c:val>
          <c:extLst>
            <c:ext xmlns:c16="http://schemas.microsoft.com/office/drawing/2014/chart" uri="{C3380CC4-5D6E-409C-BE32-E72D297353CC}">
              <c16:uniqueId val="{00000001-6C51-4DA3-A164-449E2BB5E42E}"/>
            </c:ext>
          </c:extLst>
        </c:ser>
        <c:dLbls>
          <c:showLegendKey val="0"/>
          <c:showVal val="0"/>
          <c:showCatName val="0"/>
          <c:showSerName val="0"/>
          <c:showPercent val="0"/>
          <c:showBubbleSize val="0"/>
        </c:dLbls>
        <c:gapWidth val="80"/>
        <c:overlap val="100"/>
        <c:axId val="697836896"/>
        <c:axId val="1"/>
      </c:barChart>
      <c:catAx>
        <c:axId val="6978368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
          <c:min val="0"/>
        </c:scaling>
        <c:delete val="1"/>
        <c:axPos val="l"/>
        <c:numFmt formatCode="General" sourceLinked="1"/>
        <c:majorTickMark val="out"/>
        <c:minorTickMark val="none"/>
        <c:tickLblPos val="nextTo"/>
        <c:crossAx val="697836896"/>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09803921568627"/>
          <c:y val="0.24652777777777779"/>
          <c:w val="0.3107843137254902"/>
          <c:h val="0.50694444444444442"/>
        </c:manualLayout>
      </c:layout>
      <c:barChart>
        <c:barDir val="col"/>
        <c:grouping val="stacked"/>
        <c:varyColors val="0"/>
        <c:ser>
          <c:idx val="0"/>
          <c:order val="0"/>
          <c:spPr>
            <a:solidFill>
              <a:schemeClr val="accent3"/>
            </a:solidFill>
            <a:ln>
              <a:noFill/>
            </a:ln>
          </c:spPr>
          <c:invertIfNegative val="0"/>
          <c:dLbls>
            <c:dLbl>
              <c:idx val="0"/>
              <c:layout>
                <c:manualLayout>
                  <c:x val="0"/>
                  <c:y val="-5.208333333333333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C3-4486-A01C-A53D8CE5B5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8</c:v>
                </c:pt>
              </c:numCache>
            </c:numRef>
          </c:val>
          <c:extLst>
            <c:ext xmlns:c16="http://schemas.microsoft.com/office/drawing/2014/chart" uri="{C3380CC4-5D6E-409C-BE32-E72D297353CC}">
              <c16:uniqueId val="{00000001-B9C3-4486-A01C-A53D8CE5B574}"/>
            </c:ext>
          </c:extLst>
        </c:ser>
        <c:dLbls>
          <c:showLegendKey val="0"/>
          <c:showVal val="0"/>
          <c:showCatName val="0"/>
          <c:showSerName val="0"/>
          <c:showPercent val="0"/>
          <c:showBubbleSize val="0"/>
        </c:dLbls>
        <c:gapWidth val="80"/>
        <c:overlap val="100"/>
        <c:axId val="697838336"/>
        <c:axId val="1"/>
      </c:barChart>
      <c:catAx>
        <c:axId val="697838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8"/>
          <c:min val="0"/>
        </c:scaling>
        <c:delete val="1"/>
        <c:axPos val="l"/>
        <c:numFmt formatCode="General" sourceLinked="1"/>
        <c:majorTickMark val="out"/>
        <c:minorTickMark val="none"/>
        <c:tickLblPos val="nextTo"/>
        <c:crossAx val="69783833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09803921568627"/>
          <c:y val="0.24190800681431004"/>
          <c:w val="0.3107843137254902"/>
          <c:h val="0.51618398637137985"/>
        </c:manualLayout>
      </c:layout>
      <c:barChart>
        <c:barDir val="col"/>
        <c:grouping val="stacked"/>
        <c:varyColors val="0"/>
        <c:ser>
          <c:idx val="0"/>
          <c:order val="0"/>
          <c:spPr>
            <a:solidFill>
              <a:schemeClr val="accent2"/>
            </a:solidFill>
            <a:ln>
              <a:noFill/>
            </a:ln>
          </c:spPr>
          <c:invertIfNegative val="0"/>
          <c:dLbls>
            <c:dLbl>
              <c:idx val="0"/>
              <c:layout>
                <c:manualLayout>
                  <c:x val="0"/>
                  <c:y val="-6.8143100511073255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E1-417C-B1DB-2FBBF45C9C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8</c:v>
                </c:pt>
              </c:numCache>
            </c:numRef>
          </c:val>
          <c:extLst>
            <c:ext xmlns:c16="http://schemas.microsoft.com/office/drawing/2014/chart" uri="{C3380CC4-5D6E-409C-BE32-E72D297353CC}">
              <c16:uniqueId val="{00000001-E9E1-417C-B1DB-2FBBF45C9C72}"/>
            </c:ext>
          </c:extLst>
        </c:ser>
        <c:dLbls>
          <c:showLegendKey val="0"/>
          <c:showVal val="0"/>
          <c:showCatName val="0"/>
          <c:showSerName val="0"/>
          <c:showPercent val="0"/>
          <c:showBubbleSize val="0"/>
        </c:dLbls>
        <c:gapWidth val="80"/>
        <c:overlap val="100"/>
        <c:axId val="697842176"/>
        <c:axId val="1"/>
      </c:barChart>
      <c:catAx>
        <c:axId val="6978421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8"/>
          <c:min val="0"/>
        </c:scaling>
        <c:delete val="1"/>
        <c:axPos val="l"/>
        <c:numFmt formatCode="General" sourceLinked="1"/>
        <c:majorTickMark val="out"/>
        <c:minorTickMark val="none"/>
        <c:tickLblPos val="nextTo"/>
        <c:crossAx val="69784217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68337311058073E-2"/>
          <c:y val="2.0602218700475437E-2"/>
          <c:w val="0.9172633253778838"/>
          <c:h val="0.95879556259904908"/>
        </c:manualLayout>
      </c:layout>
      <c:barChart>
        <c:barDir val="bar"/>
        <c:grouping val="clustered"/>
        <c:varyColors val="0"/>
        <c:ser>
          <c:idx val="0"/>
          <c:order val="0"/>
          <c:spPr>
            <a:solidFill>
              <a:schemeClr val="bg2"/>
            </a:solidFill>
            <a:ln>
              <a:noFill/>
            </a:ln>
          </c:spPr>
          <c:invertIfNegative val="0"/>
          <c:dPt>
            <c:idx val="4"/>
            <c:invertIfNegative val="0"/>
            <c:bubble3D val="0"/>
            <c:spPr>
              <a:solidFill>
                <a:schemeClr val="bg2"/>
              </a:solidFill>
              <a:ln w="6350" cmpd="sng" algn="ctr">
                <a:solidFill>
                  <a:schemeClr val="tx1"/>
                </a:solidFill>
                <a:prstDash val="solid"/>
              </a:ln>
            </c:spPr>
            <c:extLst>
              <c:ext xmlns:c16="http://schemas.microsoft.com/office/drawing/2014/chart" uri="{C3380CC4-5D6E-409C-BE32-E72D297353CC}">
                <c16:uniqueId val="{00000000-3549-4D6C-9C16-9AA3C81A8E17}"/>
              </c:ext>
            </c:extLst>
          </c:dPt>
          <c:dPt>
            <c:idx val="8"/>
            <c:invertIfNegative val="0"/>
            <c:bubble3D val="0"/>
            <c:spPr>
              <a:solidFill>
                <a:schemeClr val="bg2"/>
              </a:solidFill>
              <a:ln w="6350" cmpd="sng" algn="ctr">
                <a:solidFill>
                  <a:schemeClr val="tx1"/>
                </a:solidFill>
                <a:prstDash val="solid"/>
              </a:ln>
            </c:spPr>
            <c:extLst>
              <c:ext xmlns:c16="http://schemas.microsoft.com/office/drawing/2014/chart" uri="{C3380CC4-5D6E-409C-BE32-E72D297353CC}">
                <c16:uniqueId val="{00000001-3549-4D6C-9C16-9AA3C81A8E17}"/>
              </c:ext>
            </c:extLst>
          </c:dPt>
          <c:val>
            <c:numRef>
              <c:f>Sheet1!$A$1:$J$1</c:f>
              <c:numCache>
                <c:formatCode>General</c:formatCode>
                <c:ptCount val="10"/>
                <c:pt idx="0">
                  <c:v>9</c:v>
                </c:pt>
                <c:pt idx="1">
                  <c:v>8.1</c:v>
                </c:pt>
                <c:pt idx="2">
                  <c:v>7.6</c:v>
                </c:pt>
                <c:pt idx="3">
                  <c:v>7.9</c:v>
                </c:pt>
                <c:pt idx="4">
                  <c:v>4</c:v>
                </c:pt>
                <c:pt idx="5">
                  <c:v>6.9</c:v>
                </c:pt>
                <c:pt idx="6">
                  <c:v>7.3</c:v>
                </c:pt>
                <c:pt idx="7">
                  <c:v>6.4</c:v>
                </c:pt>
                <c:pt idx="8">
                  <c:v>5.7</c:v>
                </c:pt>
                <c:pt idx="9">
                  <c:v>7.4</c:v>
                </c:pt>
              </c:numCache>
            </c:numRef>
          </c:val>
          <c:extLst>
            <c:ext xmlns:c16="http://schemas.microsoft.com/office/drawing/2014/chart" uri="{C3380CC4-5D6E-409C-BE32-E72D297353CC}">
              <c16:uniqueId val="{00000002-3549-4D6C-9C16-9AA3C81A8E17}"/>
            </c:ext>
          </c:extLst>
        </c:ser>
        <c:ser>
          <c:idx val="1"/>
          <c:order val="1"/>
          <c:spPr>
            <a:solidFill>
              <a:schemeClr val="accent1"/>
            </a:solidFill>
            <a:ln>
              <a:noFill/>
            </a:ln>
          </c:spPr>
          <c:invertIfNegative val="0"/>
          <c:dPt>
            <c:idx val="4"/>
            <c:invertIfNegative val="0"/>
            <c:bubble3D val="0"/>
            <c:spPr>
              <a:solidFill>
                <a:schemeClr val="accent1"/>
              </a:solidFill>
              <a:ln w="6350" cmpd="sng" algn="ctr">
                <a:solidFill>
                  <a:schemeClr val="tx1"/>
                </a:solidFill>
                <a:prstDash val="solid"/>
              </a:ln>
            </c:spPr>
            <c:extLst>
              <c:ext xmlns:c16="http://schemas.microsoft.com/office/drawing/2014/chart" uri="{C3380CC4-5D6E-409C-BE32-E72D297353CC}">
                <c16:uniqueId val="{00000003-3549-4D6C-9C16-9AA3C81A8E17}"/>
              </c:ext>
            </c:extLst>
          </c:dPt>
          <c:dPt>
            <c:idx val="8"/>
            <c:invertIfNegative val="0"/>
            <c:bubble3D val="0"/>
            <c:spPr>
              <a:solidFill>
                <a:schemeClr val="accent1"/>
              </a:solidFill>
              <a:ln w="6350" cmpd="sng" algn="ctr">
                <a:solidFill>
                  <a:schemeClr val="tx1"/>
                </a:solidFill>
                <a:prstDash val="solid"/>
              </a:ln>
            </c:spPr>
            <c:extLst>
              <c:ext xmlns:c16="http://schemas.microsoft.com/office/drawing/2014/chart" uri="{C3380CC4-5D6E-409C-BE32-E72D297353CC}">
                <c16:uniqueId val="{00000004-3549-4D6C-9C16-9AA3C81A8E17}"/>
              </c:ext>
            </c:extLst>
          </c:dPt>
          <c:val>
            <c:numRef>
              <c:f>Sheet1!$A$2:$J$2</c:f>
              <c:numCache>
                <c:formatCode>General</c:formatCode>
                <c:ptCount val="10"/>
                <c:pt idx="0">
                  <c:v>10.199999999999999</c:v>
                </c:pt>
                <c:pt idx="1">
                  <c:v>9.4</c:v>
                </c:pt>
                <c:pt idx="2">
                  <c:v>9.1999999999999993</c:v>
                </c:pt>
                <c:pt idx="3">
                  <c:v>8.4</c:v>
                </c:pt>
                <c:pt idx="4">
                  <c:v>8.1</c:v>
                </c:pt>
                <c:pt idx="5">
                  <c:v>7.9</c:v>
                </c:pt>
                <c:pt idx="6">
                  <c:v>7.5</c:v>
                </c:pt>
                <c:pt idx="7">
                  <c:v>7.3</c:v>
                </c:pt>
                <c:pt idx="8">
                  <c:v>7.3</c:v>
                </c:pt>
                <c:pt idx="9">
                  <c:v>7.3</c:v>
                </c:pt>
              </c:numCache>
            </c:numRef>
          </c:val>
          <c:extLst>
            <c:ext xmlns:c16="http://schemas.microsoft.com/office/drawing/2014/chart" uri="{C3380CC4-5D6E-409C-BE32-E72D297353CC}">
              <c16:uniqueId val="{00000005-3549-4D6C-9C16-9AA3C81A8E17}"/>
            </c:ext>
          </c:extLst>
        </c:ser>
        <c:dLbls>
          <c:showLegendKey val="0"/>
          <c:showVal val="0"/>
          <c:showCatName val="0"/>
          <c:showSerName val="0"/>
          <c:showPercent val="0"/>
          <c:showBubbleSize val="0"/>
        </c:dLbls>
        <c:gapWidth val="80"/>
        <c:axId val="797816592"/>
        <c:axId val="1"/>
      </c:barChart>
      <c:catAx>
        <c:axId val="79781659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99999999999999"/>
          <c:min val="0"/>
        </c:scaling>
        <c:delete val="1"/>
        <c:axPos val="t"/>
        <c:numFmt formatCode="General" sourceLinked="1"/>
        <c:majorTickMark val="out"/>
        <c:minorTickMark val="none"/>
        <c:tickLblPos val="nextTo"/>
        <c:crossAx val="797816592"/>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665294924554183E-2"/>
          <c:y val="2.0537124802527645E-2"/>
          <c:w val="0.92866941015089166"/>
          <c:h val="0.95892575039494465"/>
        </c:manualLayout>
      </c:layout>
      <c:barChart>
        <c:barDir val="bar"/>
        <c:grouping val="stacked"/>
        <c:varyColors val="0"/>
        <c:ser>
          <c:idx val="0"/>
          <c:order val="0"/>
          <c:spPr>
            <a:solidFill>
              <a:schemeClr val="accent4"/>
            </a:solidFill>
            <a:ln>
              <a:noFill/>
            </a:ln>
          </c:spPr>
          <c:invertIfNegative val="0"/>
          <c:dPt>
            <c:idx val="0"/>
            <c:invertIfNegative val="0"/>
            <c:bubble3D val="0"/>
            <c:spPr>
              <a:solidFill>
                <a:schemeClr val="accent4"/>
              </a:solidFill>
              <a:ln w="6350" cmpd="sng" algn="ctr">
                <a:solidFill>
                  <a:schemeClr val="tx1"/>
                </a:solidFill>
                <a:prstDash val="solid"/>
              </a:ln>
            </c:spPr>
            <c:extLst>
              <c:ext xmlns:c16="http://schemas.microsoft.com/office/drawing/2014/chart" uri="{C3380CC4-5D6E-409C-BE32-E72D297353CC}">
                <c16:uniqueId val="{00000000-10A3-4F35-A4C9-6896378982AC}"/>
              </c:ext>
            </c:extLst>
          </c:dPt>
          <c:dPt>
            <c:idx val="6"/>
            <c:invertIfNegative val="0"/>
            <c:bubble3D val="0"/>
            <c:spPr>
              <a:solidFill>
                <a:schemeClr val="accent4"/>
              </a:solidFill>
              <a:ln w="6350" cmpd="sng" algn="ctr">
                <a:solidFill>
                  <a:schemeClr val="tx1"/>
                </a:solidFill>
                <a:prstDash val="solid"/>
              </a:ln>
            </c:spPr>
            <c:extLst>
              <c:ext xmlns:c16="http://schemas.microsoft.com/office/drawing/2014/chart" uri="{C3380CC4-5D6E-409C-BE32-E72D297353CC}">
                <c16:uniqueId val="{00000001-10A3-4F35-A4C9-6896378982AC}"/>
              </c:ext>
            </c:extLst>
          </c:dPt>
          <c:val>
            <c:numRef>
              <c:f>Sheet1!$A$1:$J$1</c:f>
              <c:numCache>
                <c:formatCode>General</c:formatCode>
                <c:ptCount val="10"/>
                <c:pt idx="0">
                  <c:v>105</c:v>
                </c:pt>
                <c:pt idx="1">
                  <c:v>49</c:v>
                </c:pt>
                <c:pt idx="2">
                  <c:v>33</c:v>
                </c:pt>
                <c:pt idx="3">
                  <c:v>28.999999999999996</c:v>
                </c:pt>
                <c:pt idx="4">
                  <c:v>28.000000000000004</c:v>
                </c:pt>
                <c:pt idx="5">
                  <c:v>27</c:v>
                </c:pt>
                <c:pt idx="6">
                  <c:v>27</c:v>
                </c:pt>
                <c:pt idx="7">
                  <c:v>27</c:v>
                </c:pt>
                <c:pt idx="8">
                  <c:v>21</c:v>
                </c:pt>
                <c:pt idx="9">
                  <c:v>21</c:v>
                </c:pt>
              </c:numCache>
            </c:numRef>
          </c:val>
          <c:extLst>
            <c:ext xmlns:c16="http://schemas.microsoft.com/office/drawing/2014/chart" uri="{C3380CC4-5D6E-409C-BE32-E72D297353CC}">
              <c16:uniqueId val="{00000002-10A3-4F35-A4C9-6896378982AC}"/>
            </c:ext>
          </c:extLst>
        </c:ser>
        <c:dLbls>
          <c:showLegendKey val="0"/>
          <c:showVal val="0"/>
          <c:showCatName val="0"/>
          <c:showSerName val="0"/>
          <c:showPercent val="0"/>
          <c:showBubbleSize val="0"/>
        </c:dLbls>
        <c:gapWidth val="80"/>
        <c:overlap val="100"/>
        <c:axId val="683956352"/>
        <c:axId val="1"/>
      </c:barChart>
      <c:catAx>
        <c:axId val="6839563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5"/>
          <c:min val="0"/>
        </c:scaling>
        <c:delete val="1"/>
        <c:axPos val="t"/>
        <c:numFmt formatCode="General" sourceLinked="1"/>
        <c:majorTickMark val="out"/>
        <c:minorTickMark val="none"/>
        <c:tickLblPos val="nextTo"/>
        <c:crossAx val="6839563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23495702005732"/>
          <c:y val="9.6862210095497947E-2"/>
          <c:w val="0.63495702005730659"/>
          <c:h val="0.80627557980900411"/>
        </c:manualLayout>
      </c:layout>
      <c:barChart>
        <c:barDir val="col"/>
        <c:grouping val="stacked"/>
        <c:varyColors val="0"/>
        <c:ser>
          <c:idx val="0"/>
          <c:order val="0"/>
          <c:spPr>
            <a:solidFill>
              <a:schemeClr val="accent2"/>
            </a:solidFill>
            <a:ln w="3175" cmpd="sng" algn="ctr">
              <a:solidFill>
                <a:schemeClr val="tx1"/>
              </a:solidFill>
              <a:prstDash val="solid"/>
            </a:ln>
          </c:spPr>
          <c:invertIfNegative val="0"/>
          <c:dLbls>
            <c:dLbl>
              <c:idx val="0"/>
              <c:layout>
                <c:manualLayout>
                  <c:x val="0"/>
                  <c:y val="-2.7285129604365621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E3-4490-A3C4-F92BB547ACF8}"/>
                </c:ext>
              </c:extLst>
            </c:dLbl>
            <c:dLbl>
              <c:idx val="1"/>
              <c:layout>
                <c:manualLayout>
                  <c:x val="0"/>
                  <c:y val="-2.046384720327421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E3-4490-A3C4-F92BB547A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049</c:v>
                </c:pt>
                <c:pt idx="1">
                  <c:v>18399</c:v>
                </c:pt>
              </c:numCache>
            </c:numRef>
          </c:val>
          <c:extLst>
            <c:ext xmlns:c16="http://schemas.microsoft.com/office/drawing/2014/chart" uri="{C3380CC4-5D6E-409C-BE32-E72D297353CC}">
              <c16:uniqueId val="{00000002-D7E3-4490-A3C4-F92BB547ACF8}"/>
            </c:ext>
          </c:extLst>
        </c:ser>
        <c:dLbls>
          <c:showLegendKey val="0"/>
          <c:showVal val="0"/>
          <c:showCatName val="0"/>
          <c:showSerName val="0"/>
          <c:showPercent val="0"/>
          <c:showBubbleSize val="0"/>
        </c:dLbls>
        <c:gapWidth val="80"/>
        <c:overlap val="100"/>
        <c:axId val="1667788623"/>
        <c:axId val="1"/>
      </c:barChart>
      <c:catAx>
        <c:axId val="1667788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99"/>
          <c:min val="0"/>
        </c:scaling>
        <c:delete val="1"/>
        <c:axPos val="l"/>
        <c:numFmt formatCode="General" sourceLinked="1"/>
        <c:majorTickMark val="out"/>
        <c:minorTickMark val="none"/>
        <c:tickLblPos val="nextTo"/>
        <c:crossAx val="166778862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48101265822783"/>
          <c:y val="5.1881622214103029E-2"/>
          <c:w val="0.44303797468354428"/>
          <c:h val="0.89623675557179394"/>
        </c:manualLayout>
      </c:layout>
      <c:barChart>
        <c:barDir val="bar"/>
        <c:grouping val="clustered"/>
        <c:varyColors val="0"/>
        <c:ser>
          <c:idx val="0"/>
          <c:order val="0"/>
          <c:spPr>
            <a:solidFill>
              <a:schemeClr val="accent2"/>
            </a:solidFill>
            <a:ln>
              <a:noFill/>
            </a:ln>
          </c:spPr>
          <c:invertIfNegative val="0"/>
          <c:dLbls>
            <c:dLbl>
              <c:idx val="0"/>
              <c:layout>
                <c:manualLayout>
                  <c:x val="0.2261603375527426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04-4BE0-ACA3-E8767399D1F8}"/>
                </c:ext>
              </c:extLst>
            </c:dLbl>
            <c:dLbl>
              <c:idx val="1"/>
              <c:layout>
                <c:manualLayout>
                  <c:x val="0.30379746835443039"/>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04-4BE0-ACA3-E8767399D1F8}"/>
                </c:ext>
              </c:extLst>
            </c:dLbl>
            <c:dLbl>
              <c:idx val="2"/>
              <c:layout>
                <c:manualLayout>
                  <c:x val="9.7046413502109699E-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04-4BE0-ACA3-E8767399D1F8}"/>
                </c:ext>
              </c:extLst>
            </c:dLbl>
            <c:dLbl>
              <c:idx val="3"/>
              <c:layout>
                <c:manualLayout>
                  <c:x val="6.160337552742616E-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04-4BE0-ACA3-E8767399D1F8}"/>
                </c:ext>
              </c:extLst>
            </c:dLbl>
            <c:dLbl>
              <c:idx val="4"/>
              <c:layout>
                <c:manualLayout>
                  <c:x val="2.1940928270042195E-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04-4BE0-ACA3-E8767399D1F8}"/>
                </c:ext>
              </c:extLst>
            </c:dLbl>
            <c:dLbl>
              <c:idx val="5"/>
              <c:layout>
                <c:manualLayout>
                  <c:x val="0.2050632911392405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04-4BE0-ACA3-E8767399D1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41</c:v>
                </c:pt>
                <c:pt idx="1">
                  <c:v>987</c:v>
                </c:pt>
                <c:pt idx="2">
                  <c:v>268</c:v>
                </c:pt>
                <c:pt idx="3">
                  <c:v>187</c:v>
                </c:pt>
                <c:pt idx="4">
                  <c:v>98</c:v>
                </c:pt>
                <c:pt idx="5">
                  <c:v>545</c:v>
                </c:pt>
              </c:numCache>
            </c:numRef>
          </c:val>
          <c:extLst>
            <c:ext xmlns:c16="http://schemas.microsoft.com/office/drawing/2014/chart" uri="{C3380CC4-5D6E-409C-BE32-E72D297353CC}">
              <c16:uniqueId val="{00000006-0504-4BE0-ACA3-E8767399D1F8}"/>
            </c:ext>
          </c:extLst>
        </c:ser>
        <c:ser>
          <c:idx val="1"/>
          <c:order val="1"/>
          <c:spPr>
            <a:solidFill>
              <a:schemeClr val="accent1"/>
            </a:solidFill>
            <a:ln>
              <a:noFill/>
            </a:ln>
          </c:spPr>
          <c:invertIfNegative val="0"/>
          <c:dLbls>
            <c:dLbl>
              <c:idx val="0"/>
              <c:layout>
                <c:manualLayout>
                  <c:x val="0.30464135021097044"/>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04-4BE0-ACA3-E8767399D1F8}"/>
                </c:ext>
              </c:extLst>
            </c:dLbl>
            <c:dLbl>
              <c:idx val="1"/>
              <c:layout>
                <c:manualLayout>
                  <c:x val="0.28776371308016879"/>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04-4BE0-ACA3-E8767399D1F8}"/>
                </c:ext>
              </c:extLst>
            </c:dLbl>
            <c:dLbl>
              <c:idx val="2"/>
              <c:layout>
                <c:manualLayout>
                  <c:x val="0.17383966244725738"/>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504-4BE0-ACA3-E8767399D1F8}"/>
                </c:ext>
              </c:extLst>
            </c:dLbl>
            <c:dLbl>
              <c:idx val="3"/>
              <c:layout>
                <c:manualLayout>
                  <c:x val="9.7890295358649793E-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04-4BE0-ACA3-E8767399D1F8}"/>
                </c:ext>
              </c:extLst>
            </c:dLbl>
            <c:dLbl>
              <c:idx val="4"/>
              <c:layout>
                <c:manualLayout>
                  <c:x val="3.7974683544303799E-2"/>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504-4BE0-ACA3-E8767399D1F8}"/>
                </c:ext>
              </c:extLst>
            </c:dLbl>
            <c:dLbl>
              <c:idx val="5"/>
              <c:layout>
                <c:manualLayout>
                  <c:x val="0.22953586497890296"/>
                  <c:y val="1.096090610157106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504-4BE0-ACA3-E8767399D1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95</c:v>
                </c:pt>
                <c:pt idx="1">
                  <c:v>918</c:v>
                </c:pt>
                <c:pt idx="2">
                  <c:v>439</c:v>
                </c:pt>
                <c:pt idx="3">
                  <c:v>269</c:v>
                </c:pt>
                <c:pt idx="4">
                  <c:v>135</c:v>
                </c:pt>
                <c:pt idx="5">
                  <c:v>656</c:v>
                </c:pt>
              </c:numCache>
            </c:numRef>
          </c:val>
          <c:extLst>
            <c:ext xmlns:c16="http://schemas.microsoft.com/office/drawing/2014/chart" uri="{C3380CC4-5D6E-409C-BE32-E72D297353CC}">
              <c16:uniqueId val="{0000000D-0504-4BE0-ACA3-E8767399D1F8}"/>
            </c:ext>
          </c:extLst>
        </c:ser>
        <c:dLbls>
          <c:showLegendKey val="0"/>
          <c:showVal val="0"/>
          <c:showCatName val="0"/>
          <c:showSerName val="0"/>
          <c:showPercent val="0"/>
          <c:showBubbleSize val="0"/>
        </c:dLbls>
        <c:gapWidth val="80"/>
        <c:axId val="353232560"/>
        <c:axId val="1"/>
      </c:barChart>
      <c:catAx>
        <c:axId val="35323256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5"/>
          <c:min val="0"/>
        </c:scaling>
        <c:delete val="1"/>
        <c:axPos val="t"/>
        <c:numFmt formatCode="General" sourceLinked="1"/>
        <c:majorTickMark val="out"/>
        <c:minorTickMark val="none"/>
        <c:tickLblPos val="nextTo"/>
        <c:crossAx val="35323256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83720930232558"/>
          <c:y val="5.197657393850659E-2"/>
          <c:w val="0.70166112956810633"/>
          <c:h val="0.89604685212298685"/>
        </c:manualLayout>
      </c:layout>
      <c:barChart>
        <c:barDir val="bar"/>
        <c:grouping val="stacked"/>
        <c:varyColors val="0"/>
        <c:ser>
          <c:idx val="0"/>
          <c:order val="0"/>
          <c:spPr>
            <a:solidFill>
              <a:schemeClr val="accent1"/>
            </a:solidFill>
            <a:ln>
              <a:noFill/>
            </a:ln>
          </c:spPr>
          <c:invertIfNegative val="0"/>
          <c:dPt>
            <c:idx val="0"/>
            <c:invertIfNegative val="0"/>
            <c:bubble3D val="0"/>
            <c:spPr>
              <a:solidFill>
                <a:schemeClr val="accent1"/>
              </a:solidFill>
              <a:ln w="12700" cmpd="sng" algn="ctr">
                <a:solidFill>
                  <a:schemeClr val="tx1"/>
                </a:solidFill>
                <a:prstDash val="solid"/>
              </a:ln>
            </c:spPr>
            <c:extLst>
              <c:ext xmlns:c16="http://schemas.microsoft.com/office/drawing/2014/chart" uri="{C3380CC4-5D6E-409C-BE32-E72D297353CC}">
                <c16:uniqueId val="{00000000-BB7C-4DEE-AB76-8AC4F73F2FF9}"/>
              </c:ext>
            </c:extLst>
          </c:dPt>
          <c:dLbls>
            <c:dLbl>
              <c:idx val="0"/>
              <c:layout>
                <c:manualLayout>
                  <c:x val="0"/>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7C-4DEE-AB76-8AC4F73F2FF9}"/>
                </c:ext>
              </c:extLst>
            </c:dLbl>
            <c:dLbl>
              <c:idx val="1"/>
              <c:layout>
                <c:manualLayout>
                  <c:x val="-6.6445182724252495E-4"/>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7C-4DEE-AB76-8AC4F73F2FF9}"/>
                </c:ext>
              </c:extLst>
            </c:dLbl>
            <c:dLbl>
              <c:idx val="2"/>
              <c:layout>
                <c:manualLayout>
                  <c:x val="0"/>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7C-4DEE-AB76-8AC4F73F2FF9}"/>
                </c:ext>
              </c:extLst>
            </c:dLbl>
            <c:dLbl>
              <c:idx val="3"/>
              <c:layout>
                <c:manualLayout>
                  <c:x val="0"/>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7C-4DEE-AB76-8AC4F73F2FF9}"/>
                </c:ext>
              </c:extLst>
            </c:dLbl>
            <c:dLbl>
              <c:idx val="4"/>
              <c:layout>
                <c:manualLayout>
                  <c:x val="0"/>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7C-4DEE-AB76-8AC4F73F2FF9}"/>
                </c:ext>
              </c:extLst>
            </c:dLbl>
            <c:dLbl>
              <c:idx val="5"/>
              <c:layout>
                <c:manualLayout>
                  <c:x val="-6.6445182724252495E-4"/>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7C-4DEE-AB76-8AC4F73F2FF9}"/>
                </c:ext>
              </c:extLst>
            </c:dLbl>
            <c:dLbl>
              <c:idx val="6"/>
              <c:layout>
                <c:manualLayout>
                  <c:x val="-6.6445182724252495E-4"/>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7C-4DEE-AB76-8AC4F73F2FF9}"/>
                </c:ext>
              </c:extLst>
            </c:dLbl>
            <c:dLbl>
              <c:idx val="7"/>
              <c:layout>
                <c:manualLayout>
                  <c:x val="0"/>
                  <c:y val="1.09809663250366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7C-4DEE-AB76-8AC4F73F2F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9535</c:v>
                </c:pt>
                <c:pt idx="1">
                  <c:v>8717</c:v>
                </c:pt>
                <c:pt idx="2">
                  <c:v>4143</c:v>
                </c:pt>
                <c:pt idx="3">
                  <c:v>3412</c:v>
                </c:pt>
                <c:pt idx="4">
                  <c:v>2959</c:v>
                </c:pt>
                <c:pt idx="5">
                  <c:v>2757</c:v>
                </c:pt>
                <c:pt idx="6">
                  <c:v>1997</c:v>
                </c:pt>
                <c:pt idx="7">
                  <c:v>1985</c:v>
                </c:pt>
                <c:pt idx="8">
                  <c:v>1448</c:v>
                </c:pt>
                <c:pt idx="9">
                  <c:v>715</c:v>
                </c:pt>
              </c:numCache>
            </c:numRef>
          </c:val>
          <c:extLst>
            <c:ext xmlns:c16="http://schemas.microsoft.com/office/drawing/2014/chart" uri="{C3380CC4-5D6E-409C-BE32-E72D297353CC}">
              <c16:uniqueId val="{00000008-BB7C-4DEE-AB76-8AC4F73F2FF9}"/>
            </c:ext>
          </c:extLst>
        </c:ser>
        <c:dLbls>
          <c:showLegendKey val="0"/>
          <c:showVal val="0"/>
          <c:showCatName val="0"/>
          <c:showSerName val="0"/>
          <c:showPercent val="0"/>
          <c:showBubbleSize val="0"/>
        </c:dLbls>
        <c:gapWidth val="80"/>
        <c:overlap val="100"/>
        <c:axId val="913429759"/>
        <c:axId val="1"/>
      </c:barChart>
      <c:catAx>
        <c:axId val="9134297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35"/>
          <c:min val="0"/>
        </c:scaling>
        <c:delete val="1"/>
        <c:axPos val="t"/>
        <c:numFmt formatCode="General" sourceLinked="1"/>
        <c:majorTickMark val="out"/>
        <c:minorTickMark val="none"/>
        <c:tickLblPos val="nextTo"/>
        <c:crossAx val="91342975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36635105608158E-2"/>
          <c:y val="5.3263315828957242E-2"/>
          <c:w val="0.89584850691915519"/>
          <c:h val="0.89347336834208557"/>
        </c:manualLayout>
      </c:layout>
      <c:barChart>
        <c:barDir val="bar"/>
        <c:grouping val="stacked"/>
        <c:varyColors val="0"/>
        <c:ser>
          <c:idx val="0"/>
          <c:order val="0"/>
          <c:spPr>
            <a:solidFill>
              <a:schemeClr val="accent1"/>
            </a:solidFill>
            <a:ln>
              <a:noFill/>
            </a:ln>
          </c:spPr>
          <c:invertIfNegative val="0"/>
          <c:dLbls>
            <c:dLbl>
              <c:idx val="0"/>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48-4B97-8618-5A3A23F7E7A4}"/>
                </c:ext>
              </c:extLst>
            </c:dLbl>
            <c:dLbl>
              <c:idx val="1"/>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48-4B97-8618-5A3A23F7E7A4}"/>
                </c:ext>
              </c:extLst>
            </c:dLbl>
            <c:dLbl>
              <c:idx val="2"/>
              <c:layout>
                <c:manualLayout>
                  <c:x val="-3.6416605972323381E-4"/>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48-4B97-8618-5A3A23F7E7A4}"/>
                </c:ext>
              </c:extLst>
            </c:dLbl>
            <c:dLbl>
              <c:idx val="3"/>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48-4B97-8618-5A3A23F7E7A4}"/>
                </c:ext>
              </c:extLst>
            </c:dLbl>
            <c:dLbl>
              <c:idx val="4"/>
              <c:layout>
                <c:manualLayout>
                  <c:x val="-3.6416605972323381E-4"/>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48-4B97-8618-5A3A23F7E7A4}"/>
                </c:ext>
              </c:extLst>
            </c:dLbl>
            <c:dLbl>
              <c:idx val="5"/>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48-4B97-8618-5A3A23F7E7A4}"/>
                </c:ext>
              </c:extLst>
            </c:dLbl>
            <c:dLbl>
              <c:idx val="6"/>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A48-4B97-8618-5A3A23F7E7A4}"/>
                </c:ext>
              </c:extLst>
            </c:dLbl>
            <c:dLbl>
              <c:idx val="7"/>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48-4B97-8618-5A3A23F7E7A4}"/>
                </c:ext>
              </c:extLst>
            </c:dLbl>
            <c:dLbl>
              <c:idx val="8"/>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A48-4B97-8618-5A3A23F7E7A4}"/>
                </c:ext>
              </c:extLst>
            </c:dLbl>
            <c:dLbl>
              <c:idx val="9"/>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48-4B97-8618-5A3A23F7E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8.162243365047571</c:v>
                </c:pt>
                <c:pt idx="1">
                  <c:v>26.853146853146853</c:v>
                </c:pt>
                <c:pt idx="2">
                  <c:v>36.881954800963634</c:v>
                </c:pt>
                <c:pt idx="3">
                  <c:v>42.867487328023174</c:v>
                </c:pt>
                <c:pt idx="4">
                  <c:v>48.417350527549821</c:v>
                </c:pt>
                <c:pt idx="5">
                  <c:v>48.312342569269525</c:v>
                </c:pt>
                <c:pt idx="6">
                  <c:v>60.010487676979551</c:v>
                </c:pt>
                <c:pt idx="7">
                  <c:v>68.976005407232179</c:v>
                </c:pt>
                <c:pt idx="8">
                  <c:v>72.796517954298139</c:v>
                </c:pt>
                <c:pt idx="9">
                  <c:v>80.593922651933696</c:v>
                </c:pt>
              </c:numCache>
            </c:numRef>
          </c:val>
          <c:extLst>
            <c:ext xmlns:c16="http://schemas.microsoft.com/office/drawing/2014/chart" uri="{C3380CC4-5D6E-409C-BE32-E72D297353CC}">
              <c16:uniqueId val="{0000000A-8A48-4B97-8618-5A3A23F7E7A4}"/>
            </c:ext>
          </c:extLst>
        </c:ser>
        <c:ser>
          <c:idx val="1"/>
          <c:order val="1"/>
          <c:spPr>
            <a:solidFill>
              <a:schemeClr val="accent2"/>
            </a:solidFill>
            <a:ln>
              <a:noFill/>
            </a:ln>
          </c:spPr>
          <c:invertIfNegative val="0"/>
          <c:dLbls>
            <c:dLbl>
              <c:idx val="0"/>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48-4B97-8618-5A3A23F7E7A4}"/>
                </c:ext>
              </c:extLst>
            </c:dLbl>
            <c:dLbl>
              <c:idx val="1"/>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A48-4B97-8618-5A3A23F7E7A4}"/>
                </c:ext>
              </c:extLst>
            </c:dLbl>
            <c:dLbl>
              <c:idx val="2"/>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48-4B97-8618-5A3A23F7E7A4}"/>
                </c:ext>
              </c:extLst>
            </c:dLbl>
            <c:dLbl>
              <c:idx val="3"/>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A48-4B97-8618-5A3A23F7E7A4}"/>
                </c:ext>
              </c:extLst>
            </c:dLbl>
            <c:dLbl>
              <c:idx val="4"/>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48-4B97-8618-5A3A23F7E7A4}"/>
                </c:ext>
              </c:extLst>
            </c:dLbl>
            <c:dLbl>
              <c:idx val="5"/>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A48-4B97-8618-5A3A23F7E7A4}"/>
                </c:ext>
              </c:extLst>
            </c:dLbl>
            <c:dLbl>
              <c:idx val="6"/>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48-4B97-8618-5A3A23F7E7A4}"/>
                </c:ext>
              </c:extLst>
            </c:dLbl>
            <c:dLbl>
              <c:idx val="7"/>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A48-4B97-8618-5A3A23F7E7A4}"/>
                </c:ext>
              </c:extLst>
            </c:dLbl>
            <c:dLbl>
              <c:idx val="8"/>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48-4B97-8618-5A3A23F7E7A4}"/>
                </c:ext>
              </c:extLst>
            </c:dLbl>
            <c:dLbl>
              <c:idx val="9"/>
              <c:layout>
                <c:manualLayout>
                  <c:x val="0"/>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A48-4B97-8618-5A3A23F7E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88.933400100150223</c:v>
                </c:pt>
                <c:pt idx="1">
                  <c:v>69.090909090909093</c:v>
                </c:pt>
                <c:pt idx="2">
                  <c:v>61.924974188367557</c:v>
                </c:pt>
                <c:pt idx="3">
                  <c:v>56.504948105237759</c:v>
                </c:pt>
                <c:pt idx="4">
                  <c:v>50.732708089097287</c:v>
                </c:pt>
                <c:pt idx="5">
                  <c:v>48.916876574307302</c:v>
                </c:pt>
                <c:pt idx="6">
                  <c:v>39.496591504981652</c:v>
                </c:pt>
                <c:pt idx="7">
                  <c:v>30.618452179790467</c:v>
                </c:pt>
                <c:pt idx="8">
                  <c:v>27.094668117519049</c:v>
                </c:pt>
                <c:pt idx="9">
                  <c:v>18.577348066298338</c:v>
                </c:pt>
              </c:numCache>
            </c:numRef>
          </c:val>
          <c:extLst>
            <c:ext xmlns:c16="http://schemas.microsoft.com/office/drawing/2014/chart" uri="{C3380CC4-5D6E-409C-BE32-E72D297353CC}">
              <c16:uniqueId val="{00000015-8A48-4B97-8618-5A3A23F7E7A4}"/>
            </c:ext>
          </c:extLst>
        </c:ser>
        <c:ser>
          <c:idx val="2"/>
          <c:order val="2"/>
          <c:spPr>
            <a:solidFill>
              <a:schemeClr val="accent3"/>
            </a:solidFill>
            <a:ln>
              <a:noFill/>
            </a:ln>
          </c:spPr>
          <c:invertIfNegative val="0"/>
          <c:dLbls>
            <c:dLbl>
              <c:idx val="9"/>
              <c:layout>
                <c:manualLayout>
                  <c:x val="4.5884923525127456E-2"/>
                  <c:y val="1.1252813203300824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A48-4B97-8618-5A3A23F7E7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2.9043565348021994</c:v>
                </c:pt>
                <c:pt idx="1">
                  <c:v>4.0559440559440496</c:v>
                </c:pt>
                <c:pt idx="2">
                  <c:v>1.1930710106688114</c:v>
                </c:pt>
                <c:pt idx="3">
                  <c:v>0.62756456673906946</c:v>
                </c:pt>
                <c:pt idx="4">
                  <c:v>0.84994138335287017</c:v>
                </c:pt>
                <c:pt idx="5">
                  <c:v>2.7707808564231717</c:v>
                </c:pt>
                <c:pt idx="6">
                  <c:v>0.49292081803880006</c:v>
                </c:pt>
                <c:pt idx="7">
                  <c:v>0.40554241297735549</c:v>
                </c:pt>
                <c:pt idx="8">
                  <c:v>0.10881392818280489</c:v>
                </c:pt>
                <c:pt idx="9">
                  <c:v>0.82872928176795924</c:v>
                </c:pt>
              </c:numCache>
            </c:numRef>
          </c:val>
          <c:extLst>
            <c:ext xmlns:c16="http://schemas.microsoft.com/office/drawing/2014/chart" uri="{C3380CC4-5D6E-409C-BE32-E72D297353CC}">
              <c16:uniqueId val="{00000017-8A48-4B97-8618-5A3A23F7E7A4}"/>
            </c:ext>
          </c:extLst>
        </c:ser>
        <c:dLbls>
          <c:showLegendKey val="0"/>
          <c:showVal val="0"/>
          <c:showCatName val="0"/>
          <c:showSerName val="0"/>
          <c:showPercent val="0"/>
          <c:showBubbleSize val="0"/>
        </c:dLbls>
        <c:gapWidth val="100"/>
        <c:overlap val="100"/>
        <c:axId val="703693680"/>
        <c:axId val="1"/>
      </c:barChart>
      <c:catAx>
        <c:axId val="70369368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70369368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78767123287671"/>
          <c:y val="5.3024645257654969E-2"/>
          <c:w val="0.67123287671232879"/>
          <c:h val="0.89395070948469002"/>
        </c:manualLayout>
      </c:layout>
      <c:barChart>
        <c:barDir val="bar"/>
        <c:grouping val="stacked"/>
        <c:varyColors val="0"/>
        <c:ser>
          <c:idx val="0"/>
          <c:order val="0"/>
          <c:spPr>
            <a:solidFill>
              <a:schemeClr val="bg2"/>
            </a:solidFill>
            <a:ln>
              <a:noFill/>
            </a:ln>
          </c:spPr>
          <c:invertIfNegative val="0"/>
          <c:dLbls>
            <c:dLbl>
              <c:idx val="0"/>
              <c:layout>
                <c:manualLayout>
                  <c:x val="0.10102739726027397"/>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71-422B-8E05-27994E2B76E4}"/>
                </c:ext>
              </c:extLst>
            </c:dLbl>
            <c:dLbl>
              <c:idx val="1"/>
              <c:layout>
                <c:manualLayout>
                  <c:x val="-0.2363013698630137"/>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71-422B-8E05-27994E2B76E4}"/>
                </c:ext>
              </c:extLst>
            </c:dLbl>
            <c:dLbl>
              <c:idx val="2"/>
              <c:layout>
                <c:manualLayout>
                  <c:x val="0.25085616438356162"/>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71-422B-8E05-27994E2B76E4}"/>
                </c:ext>
              </c:extLst>
            </c:dLbl>
            <c:dLbl>
              <c:idx val="3"/>
              <c:layout>
                <c:manualLayout>
                  <c:x val="0.21746575342465754"/>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71-422B-8E05-27994E2B76E4}"/>
                </c:ext>
              </c:extLst>
            </c:dLbl>
            <c:dLbl>
              <c:idx val="4"/>
              <c:layout>
                <c:manualLayout>
                  <c:x val="0.1464041095890411"/>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71-422B-8E05-27994E2B76E4}"/>
                </c:ext>
              </c:extLst>
            </c:dLbl>
            <c:dLbl>
              <c:idx val="5"/>
              <c:layout>
                <c:manualLayout>
                  <c:x val="0.1541095890410959"/>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71-422B-8E05-27994E2B76E4}"/>
                </c:ext>
              </c:extLst>
            </c:dLbl>
            <c:dLbl>
              <c:idx val="6"/>
              <c:layout>
                <c:manualLayout>
                  <c:x val="0.20976027397260275"/>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71-422B-8E05-27994E2B76E4}"/>
                </c:ext>
              </c:extLst>
            </c:dLbl>
            <c:dLbl>
              <c:idx val="7"/>
              <c:layout>
                <c:manualLayout>
                  <c:x val="0.2148972602739726"/>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71-422B-8E05-27994E2B76E4}"/>
                </c:ext>
              </c:extLst>
            </c:dLbl>
            <c:dLbl>
              <c:idx val="8"/>
              <c:layout>
                <c:manualLayout>
                  <c:x val="0.16695205479452055"/>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71-422B-8E05-27994E2B76E4}"/>
                </c:ext>
              </c:extLst>
            </c:dLbl>
            <c:dLbl>
              <c:idx val="9"/>
              <c:layout>
                <c:manualLayout>
                  <c:x val="7.5342465753424653E-2"/>
                  <c:y val="1.1202389843166542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71-422B-8E05-27994E2B76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2</c:v>
                </c:pt>
                <c:pt idx="1">
                  <c:v>-6.1</c:v>
                </c:pt>
                <c:pt idx="2">
                  <c:v>7.1</c:v>
                </c:pt>
                <c:pt idx="3">
                  <c:v>5.8000000000000007</c:v>
                </c:pt>
                <c:pt idx="4">
                  <c:v>3</c:v>
                </c:pt>
                <c:pt idx="5">
                  <c:v>3.3000000000000003</c:v>
                </c:pt>
                <c:pt idx="6">
                  <c:v>5.5</c:v>
                </c:pt>
                <c:pt idx="7">
                  <c:v>5.7</c:v>
                </c:pt>
                <c:pt idx="8">
                  <c:v>3.8</c:v>
                </c:pt>
                <c:pt idx="9">
                  <c:v>0.2</c:v>
                </c:pt>
              </c:numCache>
            </c:numRef>
          </c:val>
          <c:extLst>
            <c:ext xmlns:c16="http://schemas.microsoft.com/office/drawing/2014/chart" uri="{C3380CC4-5D6E-409C-BE32-E72D297353CC}">
              <c16:uniqueId val="{0000000A-4671-422B-8E05-27994E2B76E4}"/>
            </c:ext>
          </c:extLst>
        </c:ser>
        <c:dLbls>
          <c:showLegendKey val="0"/>
          <c:showVal val="0"/>
          <c:showCatName val="0"/>
          <c:showSerName val="0"/>
          <c:showPercent val="0"/>
          <c:showBubbleSize val="0"/>
        </c:dLbls>
        <c:gapWidth val="80"/>
        <c:overlap val="100"/>
        <c:axId val="150896752"/>
        <c:axId val="1"/>
      </c:barChart>
      <c:catAx>
        <c:axId val="150896752"/>
        <c:scaling>
          <c:orientation val="maxMin"/>
        </c:scaling>
        <c:delete val="0"/>
        <c:axPos val="l"/>
        <c:majorGridlines>
          <c:spPr>
            <a:ln>
              <a:noFill/>
            </a:ln>
          </c:spPr>
        </c:majorGridlines>
        <c:majorTickMark val="none"/>
        <c:minorTickMark val="none"/>
        <c:tickLblPos val="none"/>
        <c:spPr>
          <a:ln w="6350" cmpd="sng" algn="ctr">
            <a:solidFill>
              <a:schemeClr val="tx1"/>
            </a:solidFill>
            <a:prstDash val="solid"/>
          </a:ln>
        </c:spPr>
        <c:crossAx val="1"/>
        <c:crossesAt val="0"/>
        <c:auto val="0"/>
        <c:lblAlgn val="ctr"/>
        <c:lblOffset val="100"/>
        <c:noMultiLvlLbl val="0"/>
      </c:catAx>
      <c:valAx>
        <c:axId val="1"/>
        <c:scaling>
          <c:orientation val="minMax"/>
          <c:max val="7.1"/>
          <c:min val="-6.1"/>
        </c:scaling>
        <c:delete val="1"/>
        <c:axPos val="t"/>
        <c:numFmt formatCode="General" sourceLinked="1"/>
        <c:majorTickMark val="out"/>
        <c:minorTickMark val="none"/>
        <c:tickLblPos val="nextTo"/>
        <c:crossAx val="15089675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964813511611542E-2"/>
          <c:y val="2.6052104208416832E-2"/>
          <c:w val="0.90007037297677694"/>
          <c:h val="0.94789579158316628"/>
        </c:manualLayout>
      </c:layout>
      <c:barChart>
        <c:barDir val="col"/>
        <c:grouping val="clustered"/>
        <c:varyColors val="0"/>
        <c:ser>
          <c:idx val="0"/>
          <c:order val="0"/>
          <c:spPr>
            <a:solidFill>
              <a:schemeClr val="bg2"/>
            </a:solidFill>
            <a:ln>
              <a:noFill/>
            </a:ln>
          </c:spPr>
          <c:invertIfNegative val="0"/>
          <c:dLbls>
            <c:dLbl>
              <c:idx val="0"/>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2E-400E-8A0A-C41E31BE9598}"/>
                </c:ext>
              </c:extLst>
            </c:dLbl>
            <c:dLbl>
              <c:idx val="1"/>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2E-400E-8A0A-C41E31BE9598}"/>
                </c:ext>
              </c:extLst>
            </c:dLbl>
            <c:dLbl>
              <c:idx val="2"/>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2E-400E-8A0A-C41E31BE9598}"/>
                </c:ext>
              </c:extLst>
            </c:dLbl>
            <c:dLbl>
              <c:idx val="3"/>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2E-400E-8A0A-C41E31BE9598}"/>
                </c:ext>
              </c:extLst>
            </c:dLbl>
            <c:dLbl>
              <c:idx val="4"/>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2E-400E-8A0A-C41E31BE9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698</c:v>
                </c:pt>
                <c:pt idx="1">
                  <c:v>6956</c:v>
                </c:pt>
                <c:pt idx="2">
                  <c:v>2689</c:v>
                </c:pt>
                <c:pt idx="3">
                  <c:v>4414</c:v>
                </c:pt>
                <c:pt idx="4">
                  <c:v>5918</c:v>
                </c:pt>
              </c:numCache>
            </c:numRef>
          </c:val>
          <c:extLst>
            <c:ext xmlns:c16="http://schemas.microsoft.com/office/drawing/2014/chart" uri="{C3380CC4-5D6E-409C-BE32-E72D297353CC}">
              <c16:uniqueId val="{00000005-582E-400E-8A0A-C41E31BE9598}"/>
            </c:ext>
          </c:extLst>
        </c:ser>
        <c:ser>
          <c:idx val="1"/>
          <c:order val="1"/>
          <c:spPr>
            <a:solidFill>
              <a:schemeClr val="accent1"/>
            </a:solidFill>
            <a:ln>
              <a:noFill/>
            </a:ln>
          </c:spPr>
          <c:invertIfNegative val="0"/>
          <c:dLbls>
            <c:dLbl>
              <c:idx val="0"/>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2E-400E-8A0A-C41E31BE9598}"/>
                </c:ext>
              </c:extLst>
            </c:dLbl>
            <c:dLbl>
              <c:idx val="1"/>
              <c:layout>
                <c:manualLayout>
                  <c:x val="-1.055594651653765E-3"/>
                  <c:y val="-5.0100200400801599E-4"/>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2E-400E-8A0A-C41E31BE9598}"/>
                </c:ext>
              </c:extLst>
            </c:dLbl>
            <c:dLbl>
              <c:idx val="2"/>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2E-400E-8A0A-C41E31BE9598}"/>
                </c:ext>
              </c:extLst>
            </c:dLbl>
            <c:dLbl>
              <c:idx val="3"/>
              <c:layout>
                <c:manualLayout>
                  <c:x val="-1.055594651653765E-3"/>
                  <c:y val="0"/>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82E-400E-8A0A-C41E31BE9598}"/>
                </c:ext>
              </c:extLst>
            </c:dLbl>
            <c:dLbl>
              <c:idx val="4"/>
              <c:layout>
                <c:manualLayout>
                  <c:x val="-1.055594651653765E-3"/>
                  <c:y val="-5.0100200400801599E-4"/>
                </c:manualLayout>
              </c:layout>
              <c:numFmt formatCode="#,##0;&quot;-&quot;#,##0" sourceLinked="0"/>
              <c:spPr>
                <a:noFill/>
                <a:ln>
                  <a:noFill/>
                </a:ln>
              </c:spPr>
              <c:txPr>
                <a:bodyPr rot="-5400000"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82E-400E-8A0A-C41E31BE9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5413</c:v>
                </c:pt>
                <c:pt idx="1">
                  <c:v>7565</c:v>
                </c:pt>
                <c:pt idx="2">
                  <c:v>2884</c:v>
                </c:pt>
                <c:pt idx="3">
                  <c:v>4695</c:v>
                </c:pt>
                <c:pt idx="4">
                  <c:v>6231</c:v>
                </c:pt>
              </c:numCache>
            </c:numRef>
          </c:val>
          <c:extLst>
            <c:ext xmlns:c16="http://schemas.microsoft.com/office/drawing/2014/chart" uri="{C3380CC4-5D6E-409C-BE32-E72D297353CC}">
              <c16:uniqueId val="{0000000B-582E-400E-8A0A-C41E31BE9598}"/>
            </c:ext>
          </c:extLst>
        </c:ser>
        <c:dLbls>
          <c:showLegendKey val="0"/>
          <c:showVal val="0"/>
          <c:showCatName val="0"/>
          <c:showSerName val="0"/>
          <c:showPercent val="0"/>
          <c:showBubbleSize val="0"/>
        </c:dLbls>
        <c:gapWidth val="80"/>
        <c:axId val="697858976"/>
        <c:axId val="1"/>
      </c:barChart>
      <c:catAx>
        <c:axId val="6978589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413"/>
          <c:min val="0"/>
        </c:scaling>
        <c:delete val="1"/>
        <c:axPos val="l"/>
        <c:numFmt formatCode="General" sourceLinked="1"/>
        <c:majorTickMark val="out"/>
        <c:minorTickMark val="none"/>
        <c:tickLblPos val="nextTo"/>
        <c:crossAx val="69785897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40313111545987E-2"/>
          <c:y val="0.24190800681431004"/>
          <c:w val="0.94911937377690803"/>
          <c:h val="0.51618398637137985"/>
        </c:manualLayout>
      </c:layout>
      <c:barChart>
        <c:barDir val="col"/>
        <c:grouping val="stacked"/>
        <c:varyColors val="0"/>
        <c:ser>
          <c:idx val="0"/>
          <c:order val="0"/>
          <c:spPr>
            <a:solidFill>
              <a:schemeClr val="accent3"/>
            </a:solidFill>
            <a:ln>
              <a:noFill/>
            </a:ln>
          </c:spPr>
          <c:invertIfNegative val="0"/>
          <c:dLbls>
            <c:dLbl>
              <c:idx val="0"/>
              <c:layout>
                <c:manualLayout>
                  <c:x val="0"/>
                  <c:y val="-6.8143100511073255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15-4A63-8036-494842039258}"/>
                </c:ext>
              </c:extLst>
            </c:dLbl>
            <c:dLbl>
              <c:idx val="1"/>
              <c:layout>
                <c:manualLayout>
                  <c:x val="0"/>
                  <c:y val="-5.1107325383304937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15-4A63-8036-494842039258}"/>
                </c:ext>
              </c:extLst>
            </c:dLbl>
            <c:dLbl>
              <c:idx val="2"/>
              <c:layout>
                <c:manualLayout>
                  <c:x val="0"/>
                  <c:y val="-6.8143100511073255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15-4A63-8036-494842039258}"/>
                </c:ext>
              </c:extLst>
            </c:dLbl>
            <c:dLbl>
              <c:idx val="3"/>
              <c:layout>
                <c:manualLayout>
                  <c:x val="0"/>
                  <c:y val="-6.8143100511073255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15-4A63-8036-494842039258}"/>
                </c:ext>
              </c:extLst>
            </c:dLbl>
            <c:dLbl>
              <c:idx val="4"/>
              <c:layout>
                <c:manualLayout>
                  <c:x val="0"/>
                  <c:y val="-5.1107325383304937E-3"/>
                </c:manualLayout>
              </c:layout>
              <c:numFmt formatCode="#,##0.0;&quot;-&quot;#,##0.0"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15-4A63-8036-4948420392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6</c:v>
                </c:pt>
                <c:pt idx="1">
                  <c:v>5.5</c:v>
                </c:pt>
                <c:pt idx="2">
                  <c:v>5.2</c:v>
                </c:pt>
                <c:pt idx="3">
                  <c:v>5.2</c:v>
                </c:pt>
                <c:pt idx="4">
                  <c:v>5.5</c:v>
                </c:pt>
              </c:numCache>
            </c:numRef>
          </c:val>
          <c:extLst>
            <c:ext xmlns:c16="http://schemas.microsoft.com/office/drawing/2014/chart" uri="{C3380CC4-5D6E-409C-BE32-E72D297353CC}">
              <c16:uniqueId val="{00000005-AE15-4A63-8036-494842039258}"/>
            </c:ext>
          </c:extLst>
        </c:ser>
        <c:dLbls>
          <c:showLegendKey val="0"/>
          <c:showVal val="0"/>
          <c:showCatName val="0"/>
          <c:showSerName val="0"/>
          <c:showPercent val="0"/>
          <c:showBubbleSize val="0"/>
        </c:dLbls>
        <c:gapWidth val="200"/>
        <c:overlap val="100"/>
        <c:axId val="697900256"/>
        <c:axId val="1"/>
      </c:barChart>
      <c:catAx>
        <c:axId val="69790025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6"/>
          <c:min val="0"/>
        </c:scaling>
        <c:delete val="1"/>
        <c:axPos val="l"/>
        <c:numFmt formatCode="General" sourceLinked="1"/>
        <c:majorTickMark val="out"/>
        <c:minorTickMark val="none"/>
        <c:tickLblPos val="nextTo"/>
        <c:crossAx val="69790025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40313111545987E-2"/>
          <c:y val="0.25678119349005424"/>
          <c:w val="0.94911937377690803"/>
          <c:h val="0.48643761301989152"/>
        </c:manualLayout>
      </c:layout>
      <c:barChart>
        <c:barDir val="col"/>
        <c:grouping val="stacked"/>
        <c:varyColors val="0"/>
        <c:ser>
          <c:idx val="0"/>
          <c:order val="0"/>
          <c:spPr>
            <a:solidFill>
              <a:srgbClr val="D6D7D9"/>
            </a:solidFill>
            <a:ln>
              <a:noFill/>
            </a:ln>
          </c:spPr>
          <c:invertIfNegative val="0"/>
          <c:dLbls>
            <c:dLbl>
              <c:idx val="0"/>
              <c:layout>
                <c:manualLayout>
                  <c:x val="0"/>
                  <c:y val="-5.424954792043399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01-463D-84AA-6A2CDE1EEAC8}"/>
                </c:ext>
              </c:extLst>
            </c:dLbl>
            <c:dLbl>
              <c:idx val="1"/>
              <c:layout>
                <c:manualLayout>
                  <c:x val="0"/>
                  <c:y val="-5.424954792043399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01-463D-84AA-6A2CDE1EEAC8}"/>
                </c:ext>
              </c:extLst>
            </c:dLbl>
            <c:dLbl>
              <c:idx val="2"/>
              <c:layout>
                <c:manualLayout>
                  <c:x val="0"/>
                  <c:y val="-5.424954792043399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01-463D-84AA-6A2CDE1EEAC8}"/>
                </c:ext>
              </c:extLst>
            </c:dLbl>
            <c:dLbl>
              <c:idx val="3"/>
              <c:layout>
                <c:manualLayout>
                  <c:x val="0"/>
                  <c:y val="-5.424954792043399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01-463D-84AA-6A2CDE1EEAC8}"/>
                </c:ext>
              </c:extLst>
            </c:dLbl>
            <c:dLbl>
              <c:idx val="4"/>
              <c:layout>
                <c:manualLayout>
                  <c:x val="0"/>
                  <c:y val="-5.4249547920433997E-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01-463D-84AA-6A2CDE1EEA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c:v>
                </c:pt>
                <c:pt idx="1">
                  <c:v>5.0999999999999996</c:v>
                </c:pt>
                <c:pt idx="2">
                  <c:v>4.8</c:v>
                </c:pt>
                <c:pt idx="3">
                  <c:v>4.5</c:v>
                </c:pt>
                <c:pt idx="4">
                  <c:v>4.9000000000000004</c:v>
                </c:pt>
              </c:numCache>
            </c:numRef>
          </c:val>
          <c:extLst>
            <c:ext xmlns:c16="http://schemas.microsoft.com/office/drawing/2014/chart" uri="{C3380CC4-5D6E-409C-BE32-E72D297353CC}">
              <c16:uniqueId val="{00000005-2D01-463D-84AA-6A2CDE1EEAC8}"/>
            </c:ext>
          </c:extLst>
        </c:ser>
        <c:dLbls>
          <c:showLegendKey val="0"/>
          <c:showVal val="0"/>
          <c:showCatName val="0"/>
          <c:showSerName val="0"/>
          <c:showPercent val="0"/>
          <c:showBubbleSize val="0"/>
        </c:dLbls>
        <c:gapWidth val="200"/>
        <c:overlap val="100"/>
        <c:axId val="697906496"/>
        <c:axId val="1"/>
      </c:barChart>
      <c:catAx>
        <c:axId val="69790649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5.9"/>
          <c:min val="0"/>
        </c:scaling>
        <c:delete val="1"/>
        <c:axPos val="l"/>
        <c:numFmt formatCode="General" sourceLinked="1"/>
        <c:majorTickMark val="out"/>
        <c:minorTickMark val="none"/>
        <c:tickLblPos val="nextTo"/>
        <c:crossAx val="697906496"/>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5">
          <cx:pt idx="0">161636410</cx:pt>
          <cx:pt idx="1">161636409</cx:pt>
          <cx:pt idx="2">7252074</cx:pt>
          <cx:pt idx="3">161636408</cx:pt>
          <cx:pt idx="4">161775203</cx:pt>
        </cx:lvl>
      </cx:strDim>
      <cx:strDim type="cat">
        <cx:f>Analyse!$W$100:$W$104</cx:f>
        <cx:lvl ptCount="5">
          <cx:pt idx="0">Capital Region of Denmark</cx:pt>
          <cx:pt idx="1">Central Denmark Region</cx:pt>
          <cx:pt idx="2">North Jutland Region</cx:pt>
          <cx:pt idx="3">Region Zealand</cx:pt>
          <cx:pt idx="4">Region of Southern Denmark</cx:pt>
        </cx:lvl>
      </cx:strDim>
      <cx:numDim type="colorVal">
        <cx:f>Analyse!$X$100:$X$104</cx:f>
        <cx:lvl ptCount="5" formatCode="Standard">
          <cx:pt idx="0">15413</cx:pt>
          <cx:pt idx="1">7565</cx:pt>
          <cx:pt idx="2">2884</cx:pt>
          <cx:pt idx="3">4695</cx:pt>
          <cx:pt idx="4">6231</cx:pt>
        </cx:lvl>
      </cx:numDim>
    </cx:data>
  </cx:chartData>
  <cx:chart>
    <cx:plotArea>
      <cx:plotAreaRegion>
        <cx:series layoutId="regionMap" uniqueId="{E9CC6A3D-1E0B-4D8A-A1DE-197D3CB2222C}">
          <cx:tx>
            <cx:txData>
              <cx:f/>
              <cx:v>Antal nystiftede virksomheder</cx:v>
            </cx:txData>
          </cx:tx>
          <cx:dataId val="0"/>
          <cx:layoutPr>
            <cx:geography cultureLanguage="en-GB" cultureRegion="DK" attribution="Powered by Bing">
              <cx:geoCache provider="{E9337A44-BEBE-4D9F-B70C-5C5E7DAFC167}">
                <cx:binary>BMFRCoAgDADQq4gHcBV9SXUXWTMFdeEG7fi9d6BFbJSms96GRLTTF9U3AggW6klCrzhZOGtA7sA5
VyS4Z/rqeGBb1h2wpKlk3sH1AwAA//8=</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510561-1E6D-420F-92D5-091B0E9CB695}" type="datetimeFigureOut">
              <a:rPr lang="da-DK" smtClean="0"/>
              <a:t>10-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2F6D0F-1A0E-491B-AB6D-327DBA7807FA}" type="slidenum">
              <a:rPr lang="da-DK" smtClean="0"/>
              <a:t>‹#›</a:t>
            </a:fld>
            <a:endParaRPr lang="da-DK"/>
          </a:p>
        </p:txBody>
      </p:sp>
    </p:spTree>
    <p:extLst>
      <p:ext uri="{BB962C8B-B14F-4D97-AF65-F5344CB8AC3E}">
        <p14:creationId xmlns:p14="http://schemas.microsoft.com/office/powerpoint/2010/main" val="3101310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A32F6D0F-1A0E-491B-AB6D-327DBA7807FA}" type="slidenum">
              <a:rPr lang="da-DK" smtClean="0"/>
              <a:t>2</a:t>
            </a:fld>
            <a:endParaRPr lang="da-DK"/>
          </a:p>
        </p:txBody>
      </p:sp>
    </p:spTree>
    <p:extLst>
      <p:ext uri="{BB962C8B-B14F-4D97-AF65-F5344CB8AC3E}">
        <p14:creationId xmlns:p14="http://schemas.microsoft.com/office/powerpoint/2010/main" val="2893221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C80EF-A7B3-A350-CF2C-CAB5B492F1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06653C-9596-03D0-5420-92E2222A1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C34F9E-E9E0-EF47-9293-439B411E41D3}"/>
              </a:ext>
            </a:extLst>
          </p:cNvPr>
          <p:cNvSpPr>
            <a:spLocks noGrp="1"/>
          </p:cNvSpPr>
          <p:nvPr>
            <p:ph type="body" idx="1"/>
          </p:nvPr>
        </p:nvSpPr>
        <p:spPr/>
        <p:txBody>
          <a:bodyPr/>
          <a:lstStyle/>
          <a:p>
            <a:endParaRPr lang="da-DK"/>
          </a:p>
        </p:txBody>
      </p:sp>
      <p:sp>
        <p:nvSpPr>
          <p:cNvPr id="4" name="Slide Number Placeholder 3">
            <a:extLst>
              <a:ext uri="{FF2B5EF4-FFF2-40B4-BE49-F238E27FC236}">
                <a16:creationId xmlns:a16="http://schemas.microsoft.com/office/drawing/2014/main" id="{260BFE4F-13AF-A0BD-C2A5-92FC175B8E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7236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0669-23F3-0AB1-3253-89B58AA3312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D9839BC-0034-D6A1-CE48-854AEC318D5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9EEA242-0EB2-CCBA-A280-2B3AEB46C55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C9AE237-A142-3311-0F5A-423D89A11BA8}"/>
              </a:ext>
            </a:extLst>
          </p:cNvPr>
          <p:cNvSpPr>
            <a:spLocks noGrp="1"/>
          </p:cNvSpPr>
          <p:nvPr>
            <p:ph type="sldNum" sz="quarter" idx="5"/>
          </p:nvPr>
        </p:nvSpPr>
        <p:spPr/>
        <p:txBody>
          <a:bodyPr/>
          <a:lstStyle/>
          <a:p>
            <a:fld id="{A32F6D0F-1A0E-491B-AB6D-327DBA7807FA}" type="slidenum">
              <a:rPr lang="da-DK" smtClean="0"/>
              <a:t>4</a:t>
            </a:fld>
            <a:endParaRPr lang="da-DK"/>
          </a:p>
        </p:txBody>
      </p:sp>
    </p:spTree>
    <p:extLst>
      <p:ext uri="{BB962C8B-B14F-4D97-AF65-F5344CB8AC3E}">
        <p14:creationId xmlns:p14="http://schemas.microsoft.com/office/powerpoint/2010/main" val="4104899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B1104-8503-B361-8DEF-D71A0D4F68A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E9254F3-72E2-9DA9-8BC1-8371984AD6A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BA84735-2C9D-C051-6C6F-C404A0BA45D0}"/>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70F1DC77-9B72-0211-0139-348DC2BA0DE9}"/>
              </a:ext>
            </a:extLst>
          </p:cNvPr>
          <p:cNvSpPr>
            <a:spLocks noGrp="1"/>
          </p:cNvSpPr>
          <p:nvPr>
            <p:ph type="sldNum" sz="quarter" idx="5"/>
          </p:nvPr>
        </p:nvSpPr>
        <p:spPr/>
        <p:txBody>
          <a:bodyPr/>
          <a:lstStyle/>
          <a:p>
            <a:fld id="{A32F6D0F-1A0E-491B-AB6D-327DBA7807FA}" type="slidenum">
              <a:rPr lang="da-DK" smtClean="0"/>
              <a:t>5</a:t>
            </a:fld>
            <a:endParaRPr lang="da-DK"/>
          </a:p>
        </p:txBody>
      </p:sp>
    </p:spTree>
    <p:extLst>
      <p:ext uri="{BB962C8B-B14F-4D97-AF65-F5344CB8AC3E}">
        <p14:creationId xmlns:p14="http://schemas.microsoft.com/office/powerpoint/2010/main" val="2537791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818B8-B1BE-DA97-CADA-843D9D04FE4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0DDFA69-13FF-698C-2964-D16C80DE1B1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5DCA05A3-CB2D-C41D-173B-418A6B7AA124}"/>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68532B1-FA93-49E4-6D07-9DD03AE2B2A9}"/>
              </a:ext>
            </a:extLst>
          </p:cNvPr>
          <p:cNvSpPr>
            <a:spLocks noGrp="1"/>
          </p:cNvSpPr>
          <p:nvPr>
            <p:ph type="sldNum" sz="quarter" idx="5"/>
          </p:nvPr>
        </p:nvSpPr>
        <p:spPr/>
        <p:txBody>
          <a:bodyPr/>
          <a:lstStyle/>
          <a:p>
            <a:fld id="{A32F6D0F-1A0E-491B-AB6D-327DBA7807FA}" type="slidenum">
              <a:rPr lang="da-DK" smtClean="0"/>
              <a:t>6</a:t>
            </a:fld>
            <a:endParaRPr lang="da-DK"/>
          </a:p>
        </p:txBody>
      </p:sp>
    </p:spTree>
    <p:extLst>
      <p:ext uri="{BB962C8B-B14F-4D97-AF65-F5344CB8AC3E}">
        <p14:creationId xmlns:p14="http://schemas.microsoft.com/office/powerpoint/2010/main" val="3774419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847B7-C1D5-B7A0-D5B2-3D8EF34482D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F347813-EFAF-17CD-FAD2-0A1E2CEA541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61E5E9E-7009-6EE1-CEA4-8CC05AA28D42}"/>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E4EB37EC-3E62-DEDE-75B7-40E45DEDE1DF}"/>
              </a:ext>
            </a:extLst>
          </p:cNvPr>
          <p:cNvSpPr>
            <a:spLocks noGrp="1"/>
          </p:cNvSpPr>
          <p:nvPr>
            <p:ph type="sldNum" sz="quarter" idx="5"/>
          </p:nvPr>
        </p:nvSpPr>
        <p:spPr/>
        <p:txBody>
          <a:bodyPr/>
          <a:lstStyle/>
          <a:p>
            <a:fld id="{A32F6D0F-1A0E-491B-AB6D-327DBA7807FA}" type="slidenum">
              <a:rPr lang="da-DK" smtClean="0"/>
              <a:t>8</a:t>
            </a:fld>
            <a:endParaRPr lang="da-DK"/>
          </a:p>
        </p:txBody>
      </p:sp>
    </p:spTree>
    <p:extLst>
      <p:ext uri="{BB962C8B-B14F-4D97-AF65-F5344CB8AC3E}">
        <p14:creationId xmlns:p14="http://schemas.microsoft.com/office/powerpoint/2010/main" val="3619763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2A142-8E00-DFED-A98E-99C5281A6CB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4030B94A-3004-A80E-577F-90E1B7E2F6C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92273DB-FC5B-1B33-4050-EA4FA180DAC6}"/>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90CA844-F9FE-2CA8-6AF6-B22FD4A5C39C}"/>
              </a:ext>
            </a:extLst>
          </p:cNvPr>
          <p:cNvSpPr>
            <a:spLocks noGrp="1"/>
          </p:cNvSpPr>
          <p:nvPr>
            <p:ph type="sldNum" sz="quarter" idx="5"/>
          </p:nvPr>
        </p:nvSpPr>
        <p:spPr/>
        <p:txBody>
          <a:bodyPr/>
          <a:lstStyle/>
          <a:p>
            <a:fld id="{A32F6D0F-1A0E-491B-AB6D-327DBA7807FA}" type="slidenum">
              <a:rPr lang="da-DK" smtClean="0"/>
              <a:t>9</a:t>
            </a:fld>
            <a:endParaRPr lang="da-DK"/>
          </a:p>
        </p:txBody>
      </p:sp>
    </p:spTree>
    <p:extLst>
      <p:ext uri="{BB962C8B-B14F-4D97-AF65-F5344CB8AC3E}">
        <p14:creationId xmlns:p14="http://schemas.microsoft.com/office/powerpoint/2010/main" val="1876101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435A4-A654-CDD4-B125-55ECD063525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49962BF-8A14-BE49-3456-85170D62C92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A05E873-1ADE-A421-AB78-59584BF12C8B}"/>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F1D41E1F-9671-0856-2203-D782B42EFFE1}"/>
              </a:ext>
            </a:extLst>
          </p:cNvPr>
          <p:cNvSpPr>
            <a:spLocks noGrp="1"/>
          </p:cNvSpPr>
          <p:nvPr>
            <p:ph type="sldNum" sz="quarter" idx="5"/>
          </p:nvPr>
        </p:nvSpPr>
        <p:spPr/>
        <p:txBody>
          <a:bodyPr/>
          <a:lstStyle/>
          <a:p>
            <a:fld id="{A32F6D0F-1A0E-491B-AB6D-327DBA7807FA}" type="slidenum">
              <a:rPr lang="da-DK" smtClean="0"/>
              <a:t>10</a:t>
            </a:fld>
            <a:endParaRPr lang="da-DK"/>
          </a:p>
        </p:txBody>
      </p:sp>
    </p:spTree>
    <p:extLst>
      <p:ext uri="{BB962C8B-B14F-4D97-AF65-F5344CB8AC3E}">
        <p14:creationId xmlns:p14="http://schemas.microsoft.com/office/powerpoint/2010/main" val="40523832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A32F6D0F-1A0E-491B-AB6D-327DBA7807FA}" type="slidenum">
              <a:rPr lang="da-DK" smtClean="0"/>
              <a:t>11</a:t>
            </a:fld>
            <a:endParaRPr lang="da-DK"/>
          </a:p>
        </p:txBody>
      </p:sp>
    </p:spTree>
    <p:extLst>
      <p:ext uri="{BB962C8B-B14F-4D97-AF65-F5344CB8AC3E}">
        <p14:creationId xmlns:p14="http://schemas.microsoft.com/office/powerpoint/2010/main" val="1540185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9.svg"/><Relationship Id="rId7"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s://www.linkedin.com/company/eifo" TargetMode="External"/><Relationship Id="rId5" Type="http://schemas.openxmlformats.org/officeDocument/2006/relationships/hyperlink" Target="https://twitter.com/eifo_fond" TargetMode="External"/><Relationship Id="rId4" Type="http://schemas.openxmlformats.org/officeDocument/2006/relationships/hyperlink" Target="https://www.facebook.com/EIFOdk"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7.jpe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s://www.linkedin.com/company/eifo" TargetMode="External"/><Relationship Id="rId5" Type="http://schemas.openxmlformats.org/officeDocument/2006/relationships/hyperlink" Target="https://twitter.com/eifo_fond" TargetMode="External"/><Relationship Id="rId4" Type="http://schemas.openxmlformats.org/officeDocument/2006/relationships/hyperlink" Target="https://www.facebook.com/EIFOdk"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sv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1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8.emf"/><Relationship Id="rId9"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10.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15.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18.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19.svg"/><Relationship Id="rId5" Type="http://schemas.openxmlformats.org/officeDocument/2006/relationships/image" Target="../media/image3.png"/><Relationship Id="rId4" Type="http://schemas.openxmlformats.org/officeDocument/2006/relationships/image" Target="../media/image18.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9.svg"/><Relationship Id="rId7"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s://www.linkedin.com/company/eifo" TargetMode="External"/><Relationship Id="rId5" Type="http://schemas.openxmlformats.org/officeDocument/2006/relationships/hyperlink" Target="https://twitter.com/eifo_fond" TargetMode="External"/><Relationship Id="rId4" Type="http://schemas.openxmlformats.org/officeDocument/2006/relationships/hyperlink" Target="https://www.facebook.com/EIFOdk"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7.jpe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s://www.linkedin.com/company/eifo" TargetMode="External"/><Relationship Id="rId5" Type="http://schemas.openxmlformats.org/officeDocument/2006/relationships/hyperlink" Target="https://twitter.com/eifo_fond" TargetMode="External"/><Relationship Id="rId4" Type="http://schemas.openxmlformats.org/officeDocument/2006/relationships/hyperlink" Target="https://www.facebook.com/EIFOdk" TargetMode="Externa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orside med basis form">
    <p:bg>
      <p:bgPr>
        <a:solidFill>
          <a:schemeClr val="accent1"/>
        </a:solidFill>
        <a:effectLst/>
      </p:bgPr>
    </p:bg>
    <p:spTree>
      <p:nvGrpSpPr>
        <p:cNvPr id="1" name=""/>
        <p:cNvGrpSpPr/>
        <p:nvPr/>
      </p:nvGrpSpPr>
      <p:grpSpPr>
        <a:xfrm>
          <a:off x="0" y="0"/>
          <a:ext cx="0" cy="0"/>
          <a:chOff x="0" y="0"/>
          <a:chExt cx="0" cy="0"/>
        </a:xfrm>
      </p:grpSpPr>
      <p:pic>
        <p:nvPicPr>
          <p:cNvPr id="12" name="Picture 11" descr="A picture containing text, businesscard, vector graphics, envelope&#10;&#10;Description automatically generated">
            <a:extLst>
              <a:ext uri="{FF2B5EF4-FFF2-40B4-BE49-F238E27FC236}">
                <a16:creationId xmlns:a16="http://schemas.microsoft.com/office/drawing/2014/main" id="{77B5D818-6C05-77A3-C7AE-8ABA75EF9E3F}"/>
              </a:ext>
            </a:extLst>
          </p:cNvPr>
          <p:cNvPicPr>
            <a:picLocks noChangeAspect="1"/>
          </p:cNvPicPr>
          <p:nvPr/>
        </p:nvPicPr>
        <p:blipFill>
          <a:blip r:embed="rId2"/>
          <a:stretch>
            <a:fillRect/>
          </a:stretch>
        </p:blipFill>
        <p:spPr>
          <a:xfrm>
            <a:off x="7038975" y="0"/>
            <a:ext cx="4724400" cy="6858000"/>
          </a:xfrm>
          <a:prstGeom prst="rect">
            <a:avLst/>
          </a:prstGeom>
        </p:spPr>
      </p:pic>
      <p:pic>
        <p:nvPicPr>
          <p:cNvPr id="6" name="Graphic 5">
            <a:extLst>
              <a:ext uri="{FF2B5EF4-FFF2-40B4-BE49-F238E27FC236}">
                <a16:creationId xmlns:a16="http://schemas.microsoft.com/office/drawing/2014/main" id="{FC73C665-8231-D2F8-DCA8-28A66DFDBB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671521CE-E86C-519E-43A3-45904C032260}"/>
              </a:ext>
            </a:extLst>
          </p:cNvPr>
          <p:cNvSpPr>
            <a:spLocks noGrp="1"/>
          </p:cNvSpPr>
          <p:nvPr>
            <p:ph type="ctrTitle" hasCustomPrompt="1"/>
          </p:nvPr>
        </p:nvSpPr>
        <p:spPr>
          <a:xfrm>
            <a:off x="428625" y="3429000"/>
            <a:ext cx="6607175" cy="2039295"/>
          </a:xfrm>
        </p:spPr>
        <p:txBody>
          <a:bodyPr anchor="b" anchorCtr="0">
            <a:noAutofit/>
          </a:bodyPr>
          <a:lstStyle>
            <a:lvl1pPr algn="l">
              <a:lnSpc>
                <a:spcPct val="100000"/>
              </a:lnSpc>
              <a:defRPr sz="4800">
                <a:solidFill>
                  <a:schemeClr val="tx1"/>
                </a:solidFill>
              </a:defRPr>
            </a:lvl1pPr>
          </a:lstStyle>
          <a:p>
            <a:r>
              <a:rPr lang="da-DK"/>
              <a:t>Overskrift</a:t>
            </a:r>
            <a:br>
              <a:rPr lang="da-DK"/>
            </a:br>
            <a:r>
              <a:rPr lang="da-DK"/>
              <a:t>max 2 linjer</a:t>
            </a:r>
          </a:p>
        </p:txBody>
      </p:sp>
      <p:sp>
        <p:nvSpPr>
          <p:cNvPr id="5" name="Subtitle 2">
            <a:extLst>
              <a:ext uri="{FF2B5EF4-FFF2-40B4-BE49-F238E27FC236}">
                <a16:creationId xmlns:a16="http://schemas.microsoft.com/office/drawing/2014/main" id="{15C02FC2-2542-3C2F-32FF-09CF013EEBDD}"/>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
        <p:nvSpPr>
          <p:cNvPr id="2" name="Slide Number Placeholder 5">
            <a:extLst>
              <a:ext uri="{FF2B5EF4-FFF2-40B4-BE49-F238E27FC236}">
                <a16:creationId xmlns:a16="http://schemas.microsoft.com/office/drawing/2014/main" id="{461C7B65-F15F-6C6A-0577-E795D9894BEC}"/>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19083209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 3 m. 5. element">
    <p:bg>
      <p:bgPr>
        <a:solidFill>
          <a:schemeClr val="accent3"/>
        </a:solidFill>
        <a:effectLst/>
      </p:bgPr>
    </p:bg>
    <p:spTree>
      <p:nvGrpSpPr>
        <p:cNvPr id="1" name=""/>
        <p:cNvGrpSpPr/>
        <p:nvPr/>
      </p:nvGrpSpPr>
      <p:grpSpPr>
        <a:xfrm>
          <a:off x="0" y="0"/>
          <a:ext cx="0" cy="0"/>
          <a:chOff x="0" y="0"/>
          <a:chExt cx="0" cy="0"/>
        </a:xfrm>
      </p:grpSpPr>
      <p:sp>
        <p:nvSpPr>
          <p:cNvPr id="10" name="Kombinationstegning: figur 9">
            <a:extLst>
              <a:ext uri="{FF2B5EF4-FFF2-40B4-BE49-F238E27FC236}">
                <a16:creationId xmlns:a16="http://schemas.microsoft.com/office/drawing/2014/main" id="{17A181FE-2F01-88FA-F08A-7668EFF27D3F}"/>
              </a:ext>
            </a:extLst>
          </p:cNvPr>
          <p:cNvSpPr/>
          <p:nvPr/>
        </p:nvSpPr>
        <p:spPr>
          <a:xfrm>
            <a:off x="-10667" y="0"/>
            <a:ext cx="3159569" cy="6871207"/>
          </a:xfrm>
          <a:custGeom>
            <a:avLst/>
            <a:gdLst>
              <a:gd name="connsiteX0" fmla="*/ 3159570 w 3159569"/>
              <a:gd name="connsiteY0" fmla="*/ 0 h 6871207"/>
              <a:gd name="connsiteX1" fmla="*/ 3159570 w 3159569"/>
              <a:gd name="connsiteY1" fmla="*/ 6871208 h 6871207"/>
              <a:gd name="connsiteX2" fmla="*/ 10668 w 3159569"/>
              <a:gd name="connsiteY2" fmla="*/ 6871208 h 6871207"/>
              <a:gd name="connsiteX3" fmla="*/ 10668 w 3159569"/>
              <a:gd name="connsiteY3" fmla="*/ 6863588 h 6871207"/>
              <a:gd name="connsiteX4" fmla="*/ 0 w 3159569"/>
              <a:gd name="connsiteY4" fmla="*/ 6863588 h 6871207"/>
              <a:gd name="connsiteX5" fmla="*/ 10668 w 3159569"/>
              <a:gd name="connsiteY5" fmla="*/ 6853301 h 6871207"/>
              <a:gd name="connsiteX6" fmla="*/ 10668 w 3159569"/>
              <a:gd name="connsiteY6" fmla="*/ 0 h 6871207"/>
              <a:gd name="connsiteX7" fmla="*/ 3159570 w 3159569"/>
              <a:gd name="connsiteY7" fmla="*/ 0 h 687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9569" h="6871207">
                <a:moveTo>
                  <a:pt x="3159570" y="0"/>
                </a:moveTo>
                <a:lnTo>
                  <a:pt x="3159570" y="6871208"/>
                </a:lnTo>
                <a:lnTo>
                  <a:pt x="10668" y="6871208"/>
                </a:lnTo>
                <a:lnTo>
                  <a:pt x="10668" y="6863588"/>
                </a:lnTo>
                <a:lnTo>
                  <a:pt x="0" y="6863588"/>
                </a:lnTo>
                <a:lnTo>
                  <a:pt x="10668" y="6853301"/>
                </a:lnTo>
                <a:lnTo>
                  <a:pt x="10668" y="0"/>
                </a:lnTo>
                <a:lnTo>
                  <a:pt x="3159570" y="0"/>
                </a:lnTo>
                <a:close/>
              </a:path>
            </a:pathLst>
          </a:custGeom>
          <a:solidFill>
            <a:srgbClr val="EBEBD7"/>
          </a:solidFill>
          <a:ln w="6350" cap="flat">
            <a:noFill/>
            <a:prstDash val="solid"/>
            <a:miter/>
          </a:ln>
        </p:spPr>
        <p:txBody>
          <a:bodyPr rtlCol="0" anchor="ctr"/>
          <a:lstStyle/>
          <a:p>
            <a:endParaRPr lang="da-DK"/>
          </a:p>
        </p:txBody>
      </p:sp>
      <p:sp>
        <p:nvSpPr>
          <p:cNvPr id="11" name="Kombinationstegning: figur 10">
            <a:extLst>
              <a:ext uri="{FF2B5EF4-FFF2-40B4-BE49-F238E27FC236}">
                <a16:creationId xmlns:a16="http://schemas.microsoft.com/office/drawing/2014/main" id="{6EC132B9-6F67-5593-3EFF-A4493AB62F5A}"/>
              </a:ext>
            </a:extLst>
          </p:cNvPr>
          <p:cNvSpPr/>
          <p:nvPr/>
        </p:nvSpPr>
        <p:spPr>
          <a:xfrm>
            <a:off x="3148901" y="0"/>
            <a:ext cx="9043098" cy="6871207"/>
          </a:xfrm>
          <a:custGeom>
            <a:avLst/>
            <a:gdLst>
              <a:gd name="connsiteX0" fmla="*/ 9043098 w 9043098"/>
              <a:gd name="connsiteY0" fmla="*/ 2797175 h 6871207"/>
              <a:gd name="connsiteX1" fmla="*/ 9043098 w 9043098"/>
              <a:gd name="connsiteY1" fmla="*/ 673037 h 6871207"/>
              <a:gd name="connsiteX2" fmla="*/ 9043098 w 9043098"/>
              <a:gd name="connsiteY2" fmla="*/ 0 h 6871207"/>
              <a:gd name="connsiteX3" fmla="*/ 0 w 9043098"/>
              <a:gd name="connsiteY3" fmla="*/ 0 h 6871207"/>
              <a:gd name="connsiteX4" fmla="*/ 0 w 9043098"/>
              <a:gd name="connsiteY4" fmla="*/ 419164 h 6871207"/>
              <a:gd name="connsiteX5" fmla="*/ 0 w 9043098"/>
              <a:gd name="connsiteY5" fmla="*/ 6229604 h 6871207"/>
              <a:gd name="connsiteX6" fmla="*/ 0 w 9043098"/>
              <a:gd name="connsiteY6" fmla="*/ 6863588 h 6871207"/>
              <a:gd name="connsiteX7" fmla="*/ 0 w 9043098"/>
              <a:gd name="connsiteY7" fmla="*/ 6871208 h 6871207"/>
              <a:gd name="connsiteX8" fmla="*/ 9043098 w 9043098"/>
              <a:gd name="connsiteY8" fmla="*/ 6871208 h 6871207"/>
              <a:gd name="connsiteX9" fmla="*/ 9043098 w 9043098"/>
              <a:gd name="connsiteY9" fmla="*/ 6863588 h 6871207"/>
              <a:gd name="connsiteX10" fmla="*/ 9043098 w 9043098"/>
              <a:gd name="connsiteY10" fmla="*/ 6852603 h 6871207"/>
              <a:gd name="connsiteX11" fmla="*/ 9043098 w 9043098"/>
              <a:gd name="connsiteY11" fmla="*/ 2797175 h 687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3098" h="6871207">
                <a:moveTo>
                  <a:pt x="9043098" y="2797175"/>
                </a:moveTo>
                <a:lnTo>
                  <a:pt x="9043098" y="673037"/>
                </a:lnTo>
                <a:lnTo>
                  <a:pt x="9043098" y="0"/>
                </a:lnTo>
                <a:lnTo>
                  <a:pt x="0" y="0"/>
                </a:lnTo>
                <a:lnTo>
                  <a:pt x="0" y="419164"/>
                </a:lnTo>
                <a:lnTo>
                  <a:pt x="0" y="6229604"/>
                </a:lnTo>
                <a:lnTo>
                  <a:pt x="0" y="6863588"/>
                </a:lnTo>
                <a:lnTo>
                  <a:pt x="0" y="6871208"/>
                </a:lnTo>
                <a:lnTo>
                  <a:pt x="9043098" y="6871208"/>
                </a:lnTo>
                <a:lnTo>
                  <a:pt x="9043098" y="6863588"/>
                </a:lnTo>
                <a:lnTo>
                  <a:pt x="9043098" y="6852603"/>
                </a:lnTo>
                <a:lnTo>
                  <a:pt x="9043098" y="2797175"/>
                </a:lnTo>
                <a:close/>
              </a:path>
            </a:pathLst>
          </a:custGeom>
          <a:solidFill>
            <a:srgbClr val="EBEBD7"/>
          </a:solidFill>
          <a:ln w="6350" cap="flat">
            <a:noFill/>
            <a:prstDash val="solid"/>
            <a:miter/>
          </a:ln>
        </p:spPr>
        <p:txBody>
          <a:bodyPr rtlCol="0" anchor="ctr"/>
          <a:lstStyle/>
          <a:p>
            <a:endParaRPr lang="da-DK"/>
          </a:p>
        </p:txBody>
      </p:sp>
      <p:sp>
        <p:nvSpPr>
          <p:cNvPr id="12" name="Kombinationstegning: figur 11">
            <a:extLst>
              <a:ext uri="{FF2B5EF4-FFF2-40B4-BE49-F238E27FC236}">
                <a16:creationId xmlns:a16="http://schemas.microsoft.com/office/drawing/2014/main" id="{E9EB24CA-7F96-0E80-ED6A-07354FC161A2}"/>
              </a:ext>
            </a:extLst>
          </p:cNvPr>
          <p:cNvSpPr/>
          <p:nvPr/>
        </p:nvSpPr>
        <p:spPr>
          <a:xfrm>
            <a:off x="3148901" y="419163"/>
            <a:ext cx="9043098" cy="6444424"/>
          </a:xfrm>
          <a:custGeom>
            <a:avLst/>
            <a:gdLst>
              <a:gd name="connsiteX0" fmla="*/ 9043098 w 9043098"/>
              <a:gd name="connsiteY0" fmla="*/ 2378012 h 6444424"/>
              <a:gd name="connsiteX1" fmla="*/ 8320088 w 9043098"/>
              <a:gd name="connsiteY1" fmla="*/ 989330 h 6444424"/>
              <a:gd name="connsiteX2" fmla="*/ 5932868 w 9043098"/>
              <a:gd name="connsiteY2" fmla="*/ 3365 h 6444424"/>
              <a:gd name="connsiteX3" fmla="*/ 4191254 w 9043098"/>
              <a:gd name="connsiteY3" fmla="*/ 659701 h 6444424"/>
              <a:gd name="connsiteX4" fmla="*/ 477329 w 9043098"/>
              <a:gd name="connsiteY4" fmla="*/ 477203 h 6444424"/>
              <a:gd name="connsiteX5" fmla="*/ 448437 w 9043098"/>
              <a:gd name="connsiteY5" fmla="*/ 448437 h 6444424"/>
              <a:gd name="connsiteX6" fmla="*/ 0 w 9043098"/>
              <a:gd name="connsiteY6" fmla="*/ 0 h 6444424"/>
              <a:gd name="connsiteX7" fmla="*/ 0 w 9043098"/>
              <a:gd name="connsiteY7" fmla="*/ 6444425 h 6444424"/>
              <a:gd name="connsiteX8" fmla="*/ 9043098 w 9043098"/>
              <a:gd name="connsiteY8" fmla="*/ 6433439 h 6444424"/>
              <a:gd name="connsiteX9" fmla="*/ 9043098 w 9043098"/>
              <a:gd name="connsiteY9" fmla="*/ 2378012 h 644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3098" h="6444424">
                <a:moveTo>
                  <a:pt x="9043098" y="2378012"/>
                </a:moveTo>
                <a:cubicBezTo>
                  <a:pt x="8926195" y="1850390"/>
                  <a:pt x="8672068" y="1374394"/>
                  <a:pt x="8320088" y="989330"/>
                </a:cubicBezTo>
                <a:cubicBezTo>
                  <a:pt x="7734681" y="348678"/>
                  <a:pt x="6878511" y="-40259"/>
                  <a:pt x="5932868" y="3365"/>
                </a:cubicBezTo>
                <a:cubicBezTo>
                  <a:pt x="5278120" y="33528"/>
                  <a:pt x="4697413" y="304165"/>
                  <a:pt x="4191254" y="659701"/>
                </a:cubicBezTo>
                <a:cubicBezTo>
                  <a:pt x="3031998" y="1473899"/>
                  <a:pt x="1485075" y="1479423"/>
                  <a:pt x="477329" y="477203"/>
                </a:cubicBezTo>
                <a:cubicBezTo>
                  <a:pt x="467677" y="467614"/>
                  <a:pt x="458026" y="458025"/>
                  <a:pt x="448437" y="448437"/>
                </a:cubicBezTo>
                <a:lnTo>
                  <a:pt x="0" y="0"/>
                </a:lnTo>
                <a:lnTo>
                  <a:pt x="0" y="6444425"/>
                </a:lnTo>
                <a:lnTo>
                  <a:pt x="9043098" y="6433439"/>
                </a:lnTo>
                <a:lnTo>
                  <a:pt x="9043098" y="2378012"/>
                </a:lnTo>
                <a:close/>
              </a:path>
            </a:pathLst>
          </a:custGeom>
          <a:solidFill>
            <a:srgbClr val="DCDEEE"/>
          </a:solidFill>
          <a:ln w="6350" cap="flat">
            <a:noFill/>
            <a:prstDash val="solid"/>
            <a:miter/>
          </a:ln>
        </p:spPr>
        <p:txBody>
          <a:bodyPr rtlCol="0" anchor="ctr"/>
          <a:lstStyle/>
          <a:p>
            <a:endParaRPr lang="da-DK"/>
          </a:p>
        </p:txBody>
      </p:sp>
      <p:sp>
        <p:nvSpPr>
          <p:cNvPr id="13" name="Kombinationstegning: figur 12">
            <a:extLst>
              <a:ext uri="{FF2B5EF4-FFF2-40B4-BE49-F238E27FC236}">
                <a16:creationId xmlns:a16="http://schemas.microsoft.com/office/drawing/2014/main" id="{6C696A15-8743-A9C6-CB60-BFEFC2D6C74B}"/>
              </a:ext>
            </a:extLst>
          </p:cNvPr>
          <p:cNvSpPr/>
          <p:nvPr/>
        </p:nvSpPr>
        <p:spPr>
          <a:xfrm>
            <a:off x="3148901" y="673036"/>
            <a:ext cx="9043098" cy="6190551"/>
          </a:xfrm>
          <a:custGeom>
            <a:avLst/>
            <a:gdLst>
              <a:gd name="connsiteX0" fmla="*/ 9043098 w 9043098"/>
              <a:gd name="connsiteY0" fmla="*/ 0 h 6190551"/>
              <a:gd name="connsiteX1" fmla="*/ 9043098 w 9043098"/>
              <a:gd name="connsiteY1" fmla="*/ 6190552 h 6190551"/>
              <a:gd name="connsiteX2" fmla="*/ 0 w 9043098"/>
              <a:gd name="connsiteY2" fmla="*/ 6190552 h 6190551"/>
              <a:gd name="connsiteX3" fmla="*/ 0 w 9043098"/>
              <a:gd name="connsiteY3" fmla="*/ 5556568 h 6190551"/>
              <a:gd name="connsiteX4" fmla="*/ 3030347 w 9043098"/>
              <a:gd name="connsiteY4" fmla="*/ 2526221 h 6190551"/>
              <a:gd name="connsiteX5" fmla="*/ 5368100 w 9043098"/>
              <a:gd name="connsiteY5" fmla="*/ 3738372 h 6190551"/>
              <a:gd name="connsiteX6" fmla="*/ 8320088 w 9043098"/>
              <a:gd name="connsiteY6" fmla="*/ 735457 h 6190551"/>
              <a:gd name="connsiteX7" fmla="*/ 9043098 w 9043098"/>
              <a:gd name="connsiteY7" fmla="*/ 0 h 619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3098" h="6190551">
                <a:moveTo>
                  <a:pt x="9043098" y="0"/>
                </a:moveTo>
                <a:lnTo>
                  <a:pt x="9043098" y="6190552"/>
                </a:lnTo>
                <a:lnTo>
                  <a:pt x="0" y="6190552"/>
                </a:lnTo>
                <a:lnTo>
                  <a:pt x="0" y="5556568"/>
                </a:lnTo>
                <a:lnTo>
                  <a:pt x="3030347" y="2526221"/>
                </a:lnTo>
                <a:lnTo>
                  <a:pt x="5368100" y="3738372"/>
                </a:lnTo>
                <a:lnTo>
                  <a:pt x="8320088" y="735457"/>
                </a:lnTo>
                <a:lnTo>
                  <a:pt x="9043098" y="0"/>
                </a:lnTo>
                <a:close/>
              </a:path>
            </a:pathLst>
          </a:custGeom>
          <a:solidFill>
            <a:srgbClr val="4E644B"/>
          </a:solidFill>
          <a:ln w="6350" cap="flat">
            <a:noFill/>
            <a:prstDash val="solid"/>
            <a:miter/>
          </a:ln>
        </p:spPr>
        <p:txBody>
          <a:bodyPr rtlCol="0" anchor="ctr"/>
          <a:lstStyle/>
          <a:p>
            <a:endParaRPr lang="da-DK"/>
          </a:p>
        </p:txBody>
      </p:sp>
      <p:sp>
        <p:nvSpPr>
          <p:cNvPr id="14" name="Kombinationstegning: figur 13">
            <a:extLst>
              <a:ext uri="{FF2B5EF4-FFF2-40B4-BE49-F238E27FC236}">
                <a16:creationId xmlns:a16="http://schemas.microsoft.com/office/drawing/2014/main" id="{70603C1B-6D55-59B7-AF59-07C229678FFF}"/>
              </a:ext>
            </a:extLst>
          </p:cNvPr>
          <p:cNvSpPr/>
          <p:nvPr/>
        </p:nvSpPr>
        <p:spPr>
          <a:xfrm>
            <a:off x="-10667" y="2051430"/>
            <a:ext cx="4717732" cy="4812157"/>
          </a:xfrm>
          <a:custGeom>
            <a:avLst/>
            <a:gdLst>
              <a:gd name="connsiteX0" fmla="*/ 4717733 w 4717732"/>
              <a:gd name="connsiteY0" fmla="*/ 1759077 h 4812157"/>
              <a:gd name="connsiteX1" fmla="*/ 4717733 w 4717732"/>
              <a:gd name="connsiteY1" fmla="*/ 4812157 h 4812157"/>
              <a:gd name="connsiteX2" fmla="*/ 0 w 4717732"/>
              <a:gd name="connsiteY2" fmla="*/ 4812157 h 4812157"/>
              <a:gd name="connsiteX3" fmla="*/ 10668 w 4717732"/>
              <a:gd name="connsiteY3" fmla="*/ 4801870 h 4812157"/>
              <a:gd name="connsiteX4" fmla="*/ 10668 w 4717732"/>
              <a:gd name="connsiteY4" fmla="*/ 2599817 h 4812157"/>
              <a:gd name="connsiteX5" fmla="*/ 1143635 w 4717732"/>
              <a:gd name="connsiteY5" fmla="*/ 2085022 h 4812157"/>
              <a:gd name="connsiteX6" fmla="*/ 1861058 w 4717732"/>
              <a:gd name="connsiteY6" fmla="*/ 1759077 h 4812157"/>
              <a:gd name="connsiteX7" fmla="*/ 1861058 w 4717732"/>
              <a:gd name="connsiteY7" fmla="*/ 0 h 4812157"/>
              <a:gd name="connsiteX8" fmla="*/ 3159570 w 4717732"/>
              <a:gd name="connsiteY8" fmla="*/ 799592 h 4812157"/>
              <a:gd name="connsiteX9" fmla="*/ 4717733 w 4717732"/>
              <a:gd name="connsiteY9" fmla="*/ 1759077 h 481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7732" h="4812157">
                <a:moveTo>
                  <a:pt x="4717733" y="1759077"/>
                </a:moveTo>
                <a:lnTo>
                  <a:pt x="4717733" y="4812157"/>
                </a:lnTo>
                <a:lnTo>
                  <a:pt x="0" y="4812157"/>
                </a:lnTo>
                <a:lnTo>
                  <a:pt x="10668" y="4801870"/>
                </a:lnTo>
                <a:lnTo>
                  <a:pt x="10668" y="2599817"/>
                </a:lnTo>
                <a:lnTo>
                  <a:pt x="1143635" y="2085022"/>
                </a:lnTo>
                <a:lnTo>
                  <a:pt x="1861058" y="1759077"/>
                </a:lnTo>
                <a:lnTo>
                  <a:pt x="1861058" y="0"/>
                </a:lnTo>
                <a:lnTo>
                  <a:pt x="3159570" y="799592"/>
                </a:lnTo>
                <a:lnTo>
                  <a:pt x="4717733" y="1759077"/>
                </a:lnTo>
                <a:close/>
              </a:path>
            </a:pathLst>
          </a:custGeom>
          <a:solidFill>
            <a:srgbClr val="234432"/>
          </a:solidFill>
          <a:ln w="6350" cap="flat">
            <a:noFill/>
            <a:prstDash val="solid"/>
            <a:miter/>
          </a:ln>
        </p:spPr>
        <p:txBody>
          <a:bodyPr rtlCol="0" anchor="ctr"/>
          <a:lstStyle/>
          <a:p>
            <a:endParaRPr lang="da-DK"/>
          </a:p>
        </p:txBody>
      </p:sp>
      <p:sp>
        <p:nvSpPr>
          <p:cNvPr id="15" name="Kombinationstegning: figur 14">
            <a:extLst>
              <a:ext uri="{FF2B5EF4-FFF2-40B4-BE49-F238E27FC236}">
                <a16:creationId xmlns:a16="http://schemas.microsoft.com/office/drawing/2014/main" id="{F9C32E51-1FD8-C52F-185F-EAC3A2637720}"/>
              </a:ext>
            </a:extLst>
          </p:cNvPr>
          <p:cNvSpPr/>
          <p:nvPr/>
        </p:nvSpPr>
        <p:spPr>
          <a:xfrm>
            <a:off x="0" y="2958464"/>
            <a:ext cx="1132966" cy="3905123"/>
          </a:xfrm>
          <a:custGeom>
            <a:avLst/>
            <a:gdLst>
              <a:gd name="connsiteX0" fmla="*/ 1132967 w 1132966"/>
              <a:gd name="connsiteY0" fmla="*/ 0 h 3905123"/>
              <a:gd name="connsiteX1" fmla="*/ 1132967 w 1132966"/>
              <a:gd name="connsiteY1" fmla="*/ 3905123 h 3905123"/>
              <a:gd name="connsiteX2" fmla="*/ 561340 w 1132966"/>
              <a:gd name="connsiteY2" fmla="*/ 3355023 h 3905123"/>
              <a:gd name="connsiteX3" fmla="*/ 0 w 1132966"/>
              <a:gd name="connsiteY3" fmla="*/ 3894836 h 3905123"/>
              <a:gd name="connsiteX4" fmla="*/ 0 w 1132966"/>
              <a:gd name="connsiteY4" fmla="*/ 10351 h 3905123"/>
              <a:gd name="connsiteX5" fmla="*/ 561340 w 1132966"/>
              <a:gd name="connsiteY5" fmla="*/ 554863 h 3905123"/>
              <a:gd name="connsiteX6" fmla="*/ 1132967 w 1132966"/>
              <a:gd name="connsiteY6" fmla="*/ 0 h 390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2966" h="3905123">
                <a:moveTo>
                  <a:pt x="1132967" y="0"/>
                </a:moveTo>
                <a:lnTo>
                  <a:pt x="1132967" y="3905123"/>
                </a:lnTo>
                <a:lnTo>
                  <a:pt x="561340" y="3355023"/>
                </a:lnTo>
                <a:lnTo>
                  <a:pt x="0" y="3894836"/>
                </a:lnTo>
                <a:lnTo>
                  <a:pt x="0" y="10351"/>
                </a:lnTo>
                <a:lnTo>
                  <a:pt x="561340" y="554863"/>
                </a:lnTo>
                <a:lnTo>
                  <a:pt x="1132967" y="0"/>
                </a:lnTo>
                <a:close/>
              </a:path>
            </a:pathLst>
          </a:custGeom>
          <a:solidFill>
            <a:srgbClr val="4E644B"/>
          </a:solidFill>
          <a:ln w="6350" cap="flat">
            <a:noFill/>
            <a:prstDash val="solid"/>
            <a:miter/>
          </a:ln>
        </p:spPr>
        <p:txBody>
          <a:bodyPr rtlCol="0" anchor="ctr"/>
          <a:lstStyle/>
          <a:p>
            <a:endParaRPr lang="da-DK"/>
          </a:p>
        </p:txBody>
      </p:sp>
      <p:sp>
        <p:nvSpPr>
          <p:cNvPr id="6" name="Kombinationstegning: figur 5">
            <a:extLst>
              <a:ext uri="{FF2B5EF4-FFF2-40B4-BE49-F238E27FC236}">
                <a16:creationId xmlns:a16="http://schemas.microsoft.com/office/drawing/2014/main" id="{9AC2BE9E-5961-0209-2388-7912219A5962}"/>
              </a:ext>
            </a:extLst>
          </p:cNvPr>
          <p:cNvSpPr/>
          <p:nvPr/>
        </p:nvSpPr>
        <p:spPr>
          <a:xfrm>
            <a:off x="1" y="5865964"/>
            <a:ext cx="1415520" cy="996863"/>
          </a:xfrm>
          <a:custGeom>
            <a:avLst/>
            <a:gdLst>
              <a:gd name="connsiteX0" fmla="*/ 0 w 1415520"/>
              <a:gd name="connsiteY0" fmla="*/ 0 h 996863"/>
              <a:gd name="connsiteX1" fmla="*/ 1132967 w 1415520"/>
              <a:gd name="connsiteY1" fmla="*/ 559372 h 996863"/>
              <a:gd name="connsiteX2" fmla="*/ 1387827 w 1415520"/>
              <a:gd name="connsiteY2" fmla="*/ 934415 h 996863"/>
              <a:gd name="connsiteX3" fmla="*/ 1415520 w 1415520"/>
              <a:gd name="connsiteY3" fmla="*/ 996863 h 996863"/>
              <a:gd name="connsiteX4" fmla="*/ 0 w 1415520"/>
              <a:gd name="connsiteY4" fmla="*/ 996863 h 99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520" h="996863">
                <a:moveTo>
                  <a:pt x="0" y="0"/>
                </a:moveTo>
                <a:cubicBezTo>
                  <a:pt x="449263" y="33973"/>
                  <a:pt x="849630" y="243142"/>
                  <a:pt x="1132967" y="559372"/>
                </a:cubicBezTo>
                <a:cubicBezTo>
                  <a:pt x="1233742" y="671863"/>
                  <a:pt x="1319720" y="797899"/>
                  <a:pt x="1387827" y="934415"/>
                </a:cubicBezTo>
                <a:lnTo>
                  <a:pt x="1415520" y="996863"/>
                </a:lnTo>
                <a:lnTo>
                  <a:pt x="0" y="996863"/>
                </a:lnTo>
                <a:close/>
              </a:path>
            </a:pathLst>
          </a:custGeom>
          <a:solidFill>
            <a:srgbClr val="AFC0AA"/>
          </a:solidFill>
          <a:ln w="6350" cap="flat">
            <a:noFill/>
            <a:prstDash val="solid"/>
            <a:miter/>
          </a:ln>
        </p:spPr>
        <p:txBody>
          <a:bodyPr wrap="square" rtlCol="0" anchor="ctr">
            <a:noAutofit/>
          </a:bodyPr>
          <a:lstStyle/>
          <a:p>
            <a:endParaRPr lang="da-DK"/>
          </a:p>
        </p:txBody>
      </p:sp>
      <p:sp>
        <p:nvSpPr>
          <p:cNvPr id="17" name="Kombinationstegning: figur 16">
            <a:extLst>
              <a:ext uri="{FF2B5EF4-FFF2-40B4-BE49-F238E27FC236}">
                <a16:creationId xmlns:a16="http://schemas.microsoft.com/office/drawing/2014/main" id="{EB731921-0B61-D55A-3FD3-894C437C51B0}"/>
              </a:ext>
            </a:extLst>
          </p:cNvPr>
          <p:cNvSpPr/>
          <p:nvPr/>
        </p:nvSpPr>
        <p:spPr>
          <a:xfrm>
            <a:off x="1122172" y="0"/>
            <a:ext cx="4053395" cy="1693354"/>
          </a:xfrm>
          <a:custGeom>
            <a:avLst/>
            <a:gdLst>
              <a:gd name="connsiteX0" fmla="*/ 4053396 w 4053395"/>
              <a:gd name="connsiteY0" fmla="*/ 0 h 1693354"/>
              <a:gd name="connsiteX1" fmla="*/ 2026666 w 4053395"/>
              <a:gd name="connsiteY1" fmla="*/ 1693355 h 1693354"/>
              <a:gd name="connsiteX2" fmla="*/ 0 w 4053395"/>
              <a:gd name="connsiteY2" fmla="*/ 0 h 1693354"/>
              <a:gd name="connsiteX3" fmla="*/ 4053396 w 4053395"/>
              <a:gd name="connsiteY3" fmla="*/ 0 h 1693354"/>
            </a:gdLst>
            <a:ahLst/>
            <a:cxnLst>
              <a:cxn ang="0">
                <a:pos x="connsiteX0" y="connsiteY0"/>
              </a:cxn>
              <a:cxn ang="0">
                <a:pos x="connsiteX1" y="connsiteY1"/>
              </a:cxn>
              <a:cxn ang="0">
                <a:pos x="connsiteX2" y="connsiteY2"/>
              </a:cxn>
              <a:cxn ang="0">
                <a:pos x="connsiteX3" y="connsiteY3"/>
              </a:cxn>
            </a:cxnLst>
            <a:rect l="l" t="t" r="r" b="b"/>
            <a:pathLst>
              <a:path w="4053395" h="1693354">
                <a:moveTo>
                  <a:pt x="4053396" y="0"/>
                </a:moveTo>
                <a:cubicBezTo>
                  <a:pt x="3880866" y="962724"/>
                  <a:pt x="3039174" y="1693355"/>
                  <a:pt x="2026666" y="1693355"/>
                </a:cubicBezTo>
                <a:cubicBezTo>
                  <a:pt x="1014158" y="1693355"/>
                  <a:pt x="172657" y="962724"/>
                  <a:pt x="0" y="0"/>
                </a:cubicBezTo>
                <a:lnTo>
                  <a:pt x="4053396" y="0"/>
                </a:lnTo>
                <a:close/>
              </a:path>
            </a:pathLst>
          </a:custGeom>
          <a:solidFill>
            <a:srgbClr val="FFE18C"/>
          </a:solidFill>
          <a:ln w="6350" cap="flat">
            <a:noFill/>
            <a:prstDash val="solid"/>
            <a:miter/>
          </a:ln>
        </p:spPr>
        <p:txBody>
          <a:bodyPr rtlCol="0" anchor="ctr"/>
          <a:lstStyle/>
          <a:p>
            <a:endParaRPr lang="da-DK"/>
          </a:p>
        </p:txBody>
      </p:sp>
      <p:sp>
        <p:nvSpPr>
          <p:cNvPr id="18" name="Kombinationstegning: figur 17">
            <a:extLst>
              <a:ext uri="{FF2B5EF4-FFF2-40B4-BE49-F238E27FC236}">
                <a16:creationId xmlns:a16="http://schemas.microsoft.com/office/drawing/2014/main" id="{80E914FD-70CC-D50C-3869-D09A19C837CE}"/>
              </a:ext>
            </a:extLst>
          </p:cNvPr>
          <p:cNvSpPr/>
          <p:nvPr/>
        </p:nvSpPr>
        <p:spPr>
          <a:xfrm>
            <a:off x="-10667" y="6853301"/>
            <a:ext cx="10667" cy="10286"/>
          </a:xfrm>
          <a:custGeom>
            <a:avLst/>
            <a:gdLst>
              <a:gd name="connsiteX0" fmla="*/ 10668 w 10667"/>
              <a:gd name="connsiteY0" fmla="*/ 0 h 10286"/>
              <a:gd name="connsiteX1" fmla="*/ 10668 w 10667"/>
              <a:gd name="connsiteY1" fmla="*/ 10287 h 10286"/>
              <a:gd name="connsiteX2" fmla="*/ 0 w 10667"/>
              <a:gd name="connsiteY2" fmla="*/ 10287 h 10286"/>
              <a:gd name="connsiteX3" fmla="*/ 10668 w 10667"/>
              <a:gd name="connsiteY3" fmla="*/ 0 h 10286"/>
            </a:gdLst>
            <a:ahLst/>
            <a:cxnLst>
              <a:cxn ang="0">
                <a:pos x="connsiteX0" y="connsiteY0"/>
              </a:cxn>
              <a:cxn ang="0">
                <a:pos x="connsiteX1" y="connsiteY1"/>
              </a:cxn>
              <a:cxn ang="0">
                <a:pos x="connsiteX2" y="connsiteY2"/>
              </a:cxn>
              <a:cxn ang="0">
                <a:pos x="connsiteX3" y="connsiteY3"/>
              </a:cxn>
            </a:cxnLst>
            <a:rect l="l" t="t" r="r" b="b"/>
            <a:pathLst>
              <a:path w="10667" h="10286">
                <a:moveTo>
                  <a:pt x="10668" y="0"/>
                </a:moveTo>
                <a:lnTo>
                  <a:pt x="10668" y="10287"/>
                </a:lnTo>
                <a:lnTo>
                  <a:pt x="0" y="10287"/>
                </a:lnTo>
                <a:lnTo>
                  <a:pt x="10668" y="0"/>
                </a:lnTo>
                <a:close/>
              </a:path>
            </a:pathLst>
          </a:custGeom>
          <a:solidFill>
            <a:srgbClr val="4E644B"/>
          </a:solidFill>
          <a:ln w="6350" cap="flat">
            <a:noFill/>
            <a:prstDash val="solid"/>
            <a:miter/>
          </a:ln>
        </p:spPr>
        <p:txBody>
          <a:bodyPr rtlCol="0" anchor="ctr"/>
          <a:lstStyle/>
          <a:p>
            <a:endParaRPr lang="da-DK"/>
          </a:p>
        </p:txBody>
      </p:sp>
      <p:pic>
        <p:nvPicPr>
          <p:cNvPr id="3" name="Graphic 5">
            <a:extLst>
              <a:ext uri="{FF2B5EF4-FFF2-40B4-BE49-F238E27FC236}">
                <a16:creationId xmlns:a16="http://schemas.microsoft.com/office/drawing/2014/main" id="{26136532-209F-CC61-6876-8EF07CCAA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9" name="Title 1">
            <a:extLst>
              <a:ext uri="{FF2B5EF4-FFF2-40B4-BE49-F238E27FC236}">
                <a16:creationId xmlns:a16="http://schemas.microsoft.com/office/drawing/2014/main" id="{34352264-6FAD-C4FF-EB0B-A616A86C8619}"/>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bg1"/>
                </a:solidFill>
              </a:defRPr>
            </a:lvl1pPr>
          </a:lstStyle>
          <a:p>
            <a:r>
              <a:rPr lang="da-DK" err="1"/>
              <a:t>Breaker</a:t>
            </a:r>
            <a:endParaRPr lang="da-DK"/>
          </a:p>
        </p:txBody>
      </p:sp>
      <p:sp>
        <p:nvSpPr>
          <p:cNvPr id="2" name="Slide Number Placeholder 5">
            <a:extLst>
              <a:ext uri="{FF2B5EF4-FFF2-40B4-BE49-F238E27FC236}">
                <a16:creationId xmlns:a16="http://schemas.microsoft.com/office/drawing/2014/main" id="{4A4C1D1E-7B14-C821-17E8-18184625AEDA}"/>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
        <p:nvSpPr>
          <p:cNvPr id="4" name="Subtitle 2">
            <a:extLst>
              <a:ext uri="{FF2B5EF4-FFF2-40B4-BE49-F238E27FC236}">
                <a16:creationId xmlns:a16="http://schemas.microsoft.com/office/drawing/2014/main" id="{B7D71418-4048-9197-ABC3-55FF39F10E55}"/>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Tree>
    <p:extLst>
      <p:ext uri="{BB962C8B-B14F-4D97-AF65-F5344CB8AC3E}">
        <p14:creationId xmlns:p14="http://schemas.microsoft.com/office/powerpoint/2010/main" val="7255421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reaker 4">
    <p:bg>
      <p:bgPr>
        <a:solidFill>
          <a:schemeClr val="accent3"/>
        </a:solidFill>
        <a:effectLst/>
      </p:bgPr>
    </p:bg>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26136532-209F-CC61-6876-8EF07CCAA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75D72A14-076E-5332-1D4D-89512154FBB7}"/>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bg1"/>
                </a:solidFill>
              </a:defRPr>
            </a:lvl1pPr>
          </a:lstStyle>
          <a:p>
            <a:r>
              <a:rPr lang="da-DK" err="1"/>
              <a:t>Breaker</a:t>
            </a:r>
            <a:endParaRPr lang="da-DK"/>
          </a:p>
        </p:txBody>
      </p:sp>
      <p:sp>
        <p:nvSpPr>
          <p:cNvPr id="2" name="Slide Number Placeholder 5">
            <a:extLst>
              <a:ext uri="{FF2B5EF4-FFF2-40B4-BE49-F238E27FC236}">
                <a16:creationId xmlns:a16="http://schemas.microsoft.com/office/drawing/2014/main" id="{2FB2CA45-F4A7-E70C-3144-6E13F0245523}"/>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4820165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t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41062-572A-D9DD-E27F-469CD0C7914D}"/>
              </a:ext>
            </a:extLst>
          </p:cNvPr>
          <p:cNvSpPr>
            <a:spLocks noGrp="1"/>
          </p:cNvSpPr>
          <p:nvPr>
            <p:ph type="ctrTitle" hasCustomPrompt="1"/>
          </p:nvPr>
        </p:nvSpPr>
        <p:spPr>
          <a:xfrm>
            <a:off x="1375200" y="1152001"/>
            <a:ext cx="9440862" cy="4554000"/>
          </a:xfrm>
        </p:spPr>
        <p:txBody>
          <a:bodyPr anchor="ctr" anchorCtr="0">
            <a:noAutofit/>
          </a:bodyPr>
          <a:lstStyle>
            <a:lvl1pPr algn="ctr">
              <a:lnSpc>
                <a:spcPts val="5000"/>
              </a:lnSpc>
              <a:defRPr sz="4600"/>
            </a:lvl1pPr>
          </a:lstStyle>
          <a:p>
            <a:r>
              <a:rPr lang="da-DK"/>
              <a:t>"Citat”</a:t>
            </a:r>
          </a:p>
        </p:txBody>
      </p:sp>
      <p:pic>
        <p:nvPicPr>
          <p:cNvPr id="3" name="Graphic 5">
            <a:extLst>
              <a:ext uri="{FF2B5EF4-FFF2-40B4-BE49-F238E27FC236}">
                <a16:creationId xmlns:a16="http://schemas.microsoft.com/office/drawing/2014/main" id="{B8D5F003-AB9A-39E4-8830-1DFA5DA12B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249FCB7F-0070-743D-3028-8166860836C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28496137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itat 2 m. Basis former">
    <p:bg>
      <p:bgPr>
        <a:solidFill>
          <a:schemeClr val="accent3"/>
        </a:solidFill>
        <a:effectLst/>
      </p:bgPr>
    </p:bg>
    <p:spTree>
      <p:nvGrpSpPr>
        <p:cNvPr id="1" name=""/>
        <p:cNvGrpSpPr/>
        <p:nvPr/>
      </p:nvGrpSpPr>
      <p:grpSpPr>
        <a:xfrm>
          <a:off x="0" y="0"/>
          <a:ext cx="0" cy="0"/>
          <a:chOff x="0" y="0"/>
          <a:chExt cx="0" cy="0"/>
        </a:xfrm>
      </p:grpSpPr>
      <p:sp>
        <p:nvSpPr>
          <p:cNvPr id="10" name="Kombinationstegning: figur 9">
            <a:extLst>
              <a:ext uri="{FF2B5EF4-FFF2-40B4-BE49-F238E27FC236}">
                <a16:creationId xmlns:a16="http://schemas.microsoft.com/office/drawing/2014/main" id="{56280EED-93A1-77F9-A9D7-99BA516E874C}"/>
              </a:ext>
            </a:extLst>
          </p:cNvPr>
          <p:cNvSpPr>
            <a:spLocks noChangeAspect="1"/>
          </p:cNvSpPr>
          <p:nvPr/>
        </p:nvSpPr>
        <p:spPr>
          <a:xfrm>
            <a:off x="431800" y="0"/>
            <a:ext cx="1900800" cy="1306686"/>
          </a:xfrm>
          <a:custGeom>
            <a:avLst/>
            <a:gdLst>
              <a:gd name="connsiteX0" fmla="*/ 582083 w 2207683"/>
              <a:gd name="connsiteY0" fmla="*/ 0 h 1517650"/>
              <a:gd name="connsiteX1" fmla="*/ 1001183 w 2207683"/>
              <a:gd name="connsiteY1" fmla="*/ 0 h 1517650"/>
              <a:gd name="connsiteX2" fmla="*/ 753533 w 2207683"/>
              <a:gd name="connsiteY2" fmla="*/ 1517650 h 1517650"/>
              <a:gd name="connsiteX3" fmla="*/ 118533 w 2207683"/>
              <a:gd name="connsiteY3" fmla="*/ 1517650 h 1517650"/>
              <a:gd name="connsiteX4" fmla="*/ 23283 w 2207683"/>
              <a:gd name="connsiteY4" fmla="*/ 1339850 h 1517650"/>
              <a:gd name="connsiteX5" fmla="*/ 582083 w 2207683"/>
              <a:gd name="connsiteY5" fmla="*/ 0 h 1517650"/>
              <a:gd name="connsiteX6" fmla="*/ 1788583 w 2207683"/>
              <a:gd name="connsiteY6" fmla="*/ 0 h 1517650"/>
              <a:gd name="connsiteX7" fmla="*/ 2207683 w 2207683"/>
              <a:gd name="connsiteY7" fmla="*/ 0 h 1517650"/>
              <a:gd name="connsiteX8" fmla="*/ 1960033 w 2207683"/>
              <a:gd name="connsiteY8" fmla="*/ 1517650 h 1517650"/>
              <a:gd name="connsiteX9" fmla="*/ 1325033 w 2207683"/>
              <a:gd name="connsiteY9" fmla="*/ 1517650 h 1517650"/>
              <a:gd name="connsiteX10" fmla="*/ 1229783 w 2207683"/>
              <a:gd name="connsiteY10" fmla="*/ 1339850 h 1517650"/>
              <a:gd name="connsiteX11" fmla="*/ 1788583 w 2207683"/>
              <a:gd name="connsiteY11" fmla="*/ 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582083" y="0"/>
                </a:moveTo>
                <a:lnTo>
                  <a:pt x="1001183" y="0"/>
                </a:lnTo>
                <a:lnTo>
                  <a:pt x="753533" y="1517650"/>
                </a:lnTo>
                <a:lnTo>
                  <a:pt x="118533" y="1517650"/>
                </a:lnTo>
                <a:cubicBezTo>
                  <a:pt x="-8467" y="1517650"/>
                  <a:pt x="-21167" y="1447800"/>
                  <a:pt x="23283" y="1339850"/>
                </a:cubicBezTo>
                <a:lnTo>
                  <a:pt x="582083" y="0"/>
                </a:lnTo>
                <a:close/>
                <a:moveTo>
                  <a:pt x="1788583" y="0"/>
                </a:moveTo>
                <a:lnTo>
                  <a:pt x="2207683" y="0"/>
                </a:lnTo>
                <a:lnTo>
                  <a:pt x="1960033" y="1517650"/>
                </a:lnTo>
                <a:lnTo>
                  <a:pt x="1325033" y="1517650"/>
                </a:lnTo>
                <a:cubicBezTo>
                  <a:pt x="1198033" y="1517650"/>
                  <a:pt x="1185333" y="1447800"/>
                  <a:pt x="1229783" y="1339850"/>
                </a:cubicBezTo>
                <a:lnTo>
                  <a:pt x="1788583" y="0"/>
                </a:lnTo>
                <a:close/>
              </a:path>
            </a:pathLst>
          </a:custGeom>
          <a:solidFill>
            <a:schemeClr val="accent1"/>
          </a:solidFill>
          <a:ln w="6350" cap="flat">
            <a:noFill/>
            <a:prstDash val="solid"/>
            <a:miter/>
          </a:ln>
        </p:spPr>
        <p:txBody>
          <a:bodyPr rtlCol="0" anchor="ctr"/>
          <a:lstStyle/>
          <a:p>
            <a:endParaRPr lang="da-DK"/>
          </a:p>
        </p:txBody>
      </p:sp>
      <p:sp>
        <p:nvSpPr>
          <p:cNvPr id="11" name="Kombinationstegning: figur 10">
            <a:extLst>
              <a:ext uri="{FF2B5EF4-FFF2-40B4-BE49-F238E27FC236}">
                <a16:creationId xmlns:a16="http://schemas.microsoft.com/office/drawing/2014/main" id="{57E36AE6-6B05-6B70-BA3E-561CBB7BAD17}"/>
              </a:ext>
            </a:extLst>
          </p:cNvPr>
          <p:cNvSpPr>
            <a:spLocks noChangeAspect="1"/>
          </p:cNvSpPr>
          <p:nvPr/>
        </p:nvSpPr>
        <p:spPr>
          <a:xfrm>
            <a:off x="9871075" y="5553599"/>
            <a:ext cx="1900800" cy="1306686"/>
          </a:xfrm>
          <a:custGeom>
            <a:avLst/>
            <a:gdLst>
              <a:gd name="connsiteX0" fmla="*/ 419100 w 2207683"/>
              <a:gd name="connsiteY0" fmla="*/ 1517650 h 1517650"/>
              <a:gd name="connsiteX1" fmla="*/ 0 w 2207683"/>
              <a:gd name="connsiteY1" fmla="*/ 1517650 h 1517650"/>
              <a:gd name="connsiteX2" fmla="*/ 247650 w 2207683"/>
              <a:gd name="connsiteY2" fmla="*/ 0 h 1517650"/>
              <a:gd name="connsiteX3" fmla="*/ 882650 w 2207683"/>
              <a:gd name="connsiteY3" fmla="*/ 0 h 1517650"/>
              <a:gd name="connsiteX4" fmla="*/ 977900 w 2207683"/>
              <a:gd name="connsiteY4" fmla="*/ 177800 h 1517650"/>
              <a:gd name="connsiteX5" fmla="*/ 419100 w 2207683"/>
              <a:gd name="connsiteY5" fmla="*/ 1517650 h 1517650"/>
              <a:gd name="connsiteX6" fmla="*/ 1625600 w 2207683"/>
              <a:gd name="connsiteY6" fmla="*/ 1517650 h 1517650"/>
              <a:gd name="connsiteX7" fmla="*/ 1206500 w 2207683"/>
              <a:gd name="connsiteY7" fmla="*/ 1517650 h 1517650"/>
              <a:gd name="connsiteX8" fmla="*/ 1454150 w 2207683"/>
              <a:gd name="connsiteY8" fmla="*/ 0 h 1517650"/>
              <a:gd name="connsiteX9" fmla="*/ 2089150 w 2207683"/>
              <a:gd name="connsiteY9" fmla="*/ 0 h 1517650"/>
              <a:gd name="connsiteX10" fmla="*/ 2184400 w 2207683"/>
              <a:gd name="connsiteY10" fmla="*/ 177800 h 1517650"/>
              <a:gd name="connsiteX11" fmla="*/ 1625600 w 2207683"/>
              <a:gd name="connsiteY11" fmla="*/ 151765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419100" y="1517650"/>
                </a:moveTo>
                <a:lnTo>
                  <a:pt x="0" y="1517650"/>
                </a:lnTo>
                <a:lnTo>
                  <a:pt x="247650" y="0"/>
                </a:lnTo>
                <a:lnTo>
                  <a:pt x="882650" y="0"/>
                </a:lnTo>
                <a:cubicBezTo>
                  <a:pt x="1009650" y="0"/>
                  <a:pt x="1022350" y="69850"/>
                  <a:pt x="977900" y="177800"/>
                </a:cubicBezTo>
                <a:lnTo>
                  <a:pt x="419100" y="1517650"/>
                </a:lnTo>
                <a:close/>
                <a:moveTo>
                  <a:pt x="1625600" y="1517650"/>
                </a:moveTo>
                <a:lnTo>
                  <a:pt x="1206500" y="1517650"/>
                </a:lnTo>
                <a:lnTo>
                  <a:pt x="1454150" y="0"/>
                </a:lnTo>
                <a:lnTo>
                  <a:pt x="2089150" y="0"/>
                </a:lnTo>
                <a:cubicBezTo>
                  <a:pt x="2216150" y="0"/>
                  <a:pt x="2228850" y="69850"/>
                  <a:pt x="2184400" y="177800"/>
                </a:cubicBezTo>
                <a:lnTo>
                  <a:pt x="1625600" y="1517650"/>
                </a:lnTo>
                <a:close/>
              </a:path>
            </a:pathLst>
          </a:custGeom>
          <a:solidFill>
            <a:schemeClr val="accent1"/>
          </a:solidFill>
          <a:ln w="6350" cap="flat">
            <a:noFill/>
            <a:prstDash val="solid"/>
            <a:miter/>
          </a:ln>
        </p:spPr>
        <p:txBody>
          <a:bodyPr rtlCol="0" anchor="ctr"/>
          <a:lstStyle/>
          <a:p>
            <a:endParaRPr lang="da-DK">
              <a:solidFill>
                <a:schemeClr val="accent1"/>
              </a:solidFill>
            </a:endParaRPr>
          </a:p>
        </p:txBody>
      </p:sp>
      <p:pic>
        <p:nvPicPr>
          <p:cNvPr id="3" name="Graphic 5">
            <a:extLst>
              <a:ext uri="{FF2B5EF4-FFF2-40B4-BE49-F238E27FC236}">
                <a16:creationId xmlns:a16="http://schemas.microsoft.com/office/drawing/2014/main" id="{CD3F4DF6-1E96-E086-5E31-358D1B86B4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Title 1">
            <a:extLst>
              <a:ext uri="{FF2B5EF4-FFF2-40B4-BE49-F238E27FC236}">
                <a16:creationId xmlns:a16="http://schemas.microsoft.com/office/drawing/2014/main" id="{2CDCAAB6-6999-8BB9-B9EA-51F6D7622067}"/>
              </a:ext>
            </a:extLst>
          </p:cNvPr>
          <p:cNvSpPr>
            <a:spLocks noGrp="1"/>
          </p:cNvSpPr>
          <p:nvPr>
            <p:ph type="ctrTitle" hasCustomPrompt="1"/>
          </p:nvPr>
        </p:nvSpPr>
        <p:spPr>
          <a:xfrm>
            <a:off x="1375200" y="1925435"/>
            <a:ext cx="9440862" cy="3007130"/>
          </a:xfrm>
        </p:spPr>
        <p:txBody>
          <a:bodyPr anchor="ctr" anchorCtr="0">
            <a:noAutofit/>
          </a:bodyPr>
          <a:lstStyle>
            <a:lvl1pPr algn="ctr">
              <a:lnSpc>
                <a:spcPts val="5000"/>
              </a:lnSpc>
              <a:defRPr sz="4600">
                <a:solidFill>
                  <a:schemeClr val="bg1"/>
                </a:solidFill>
              </a:defRPr>
            </a:lvl1pPr>
          </a:lstStyle>
          <a:p>
            <a:r>
              <a:rPr lang="da-DK"/>
              <a:t>"Citat”</a:t>
            </a:r>
          </a:p>
        </p:txBody>
      </p:sp>
      <p:sp>
        <p:nvSpPr>
          <p:cNvPr id="14" name="Pladsholder til tekst 13">
            <a:extLst>
              <a:ext uri="{FF2B5EF4-FFF2-40B4-BE49-F238E27FC236}">
                <a16:creationId xmlns:a16="http://schemas.microsoft.com/office/drawing/2014/main" id="{68A13AFD-FEF2-49E8-C04E-C7AAC8330BD6}"/>
              </a:ext>
            </a:extLst>
          </p:cNvPr>
          <p:cNvSpPr>
            <a:spLocks noGrp="1"/>
          </p:cNvSpPr>
          <p:nvPr>
            <p:ph type="body" sz="quarter" idx="13" hasCustomPrompt="1"/>
          </p:nvPr>
        </p:nvSpPr>
        <p:spPr>
          <a:xfrm>
            <a:off x="1343025" y="5560421"/>
            <a:ext cx="9472613" cy="387350"/>
          </a:xfrm>
        </p:spPr>
        <p:txBody>
          <a:bodyPr/>
          <a:lstStyle>
            <a:lvl1pPr marL="0" indent="0" algn="ctr">
              <a:buNone/>
              <a:defRPr i="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da-DK"/>
              <a:t>Navn på person, stilling</a:t>
            </a:r>
          </a:p>
        </p:txBody>
      </p:sp>
      <p:sp>
        <p:nvSpPr>
          <p:cNvPr id="2" name="Slide Number Placeholder 5">
            <a:extLst>
              <a:ext uri="{FF2B5EF4-FFF2-40B4-BE49-F238E27FC236}">
                <a16:creationId xmlns:a16="http://schemas.microsoft.com/office/drawing/2014/main" id="{6AF9052A-0BA4-668B-8EBC-14246FD72C6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8042506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itat 3 m. Basis Former CTA farve">
    <p:bg>
      <p:bgPr>
        <a:solidFill>
          <a:schemeClr val="accent3"/>
        </a:solidFill>
        <a:effectLst/>
      </p:bgPr>
    </p:bg>
    <p:spTree>
      <p:nvGrpSpPr>
        <p:cNvPr id="1" name=""/>
        <p:cNvGrpSpPr/>
        <p:nvPr/>
      </p:nvGrpSpPr>
      <p:grpSpPr>
        <a:xfrm>
          <a:off x="0" y="0"/>
          <a:ext cx="0" cy="0"/>
          <a:chOff x="0" y="0"/>
          <a:chExt cx="0" cy="0"/>
        </a:xfrm>
      </p:grpSpPr>
      <p:sp>
        <p:nvSpPr>
          <p:cNvPr id="10" name="Kombinationstegning: figur 9">
            <a:extLst>
              <a:ext uri="{FF2B5EF4-FFF2-40B4-BE49-F238E27FC236}">
                <a16:creationId xmlns:a16="http://schemas.microsoft.com/office/drawing/2014/main" id="{56280EED-93A1-77F9-A9D7-99BA516E874C}"/>
              </a:ext>
            </a:extLst>
          </p:cNvPr>
          <p:cNvSpPr>
            <a:spLocks noChangeAspect="1"/>
          </p:cNvSpPr>
          <p:nvPr/>
        </p:nvSpPr>
        <p:spPr>
          <a:xfrm>
            <a:off x="431800" y="0"/>
            <a:ext cx="1900800" cy="1306686"/>
          </a:xfrm>
          <a:custGeom>
            <a:avLst/>
            <a:gdLst>
              <a:gd name="connsiteX0" fmla="*/ 582083 w 2207683"/>
              <a:gd name="connsiteY0" fmla="*/ 0 h 1517650"/>
              <a:gd name="connsiteX1" fmla="*/ 1001183 w 2207683"/>
              <a:gd name="connsiteY1" fmla="*/ 0 h 1517650"/>
              <a:gd name="connsiteX2" fmla="*/ 753533 w 2207683"/>
              <a:gd name="connsiteY2" fmla="*/ 1517650 h 1517650"/>
              <a:gd name="connsiteX3" fmla="*/ 118533 w 2207683"/>
              <a:gd name="connsiteY3" fmla="*/ 1517650 h 1517650"/>
              <a:gd name="connsiteX4" fmla="*/ 23283 w 2207683"/>
              <a:gd name="connsiteY4" fmla="*/ 1339850 h 1517650"/>
              <a:gd name="connsiteX5" fmla="*/ 582083 w 2207683"/>
              <a:gd name="connsiteY5" fmla="*/ 0 h 1517650"/>
              <a:gd name="connsiteX6" fmla="*/ 1788583 w 2207683"/>
              <a:gd name="connsiteY6" fmla="*/ 0 h 1517650"/>
              <a:gd name="connsiteX7" fmla="*/ 2207683 w 2207683"/>
              <a:gd name="connsiteY7" fmla="*/ 0 h 1517650"/>
              <a:gd name="connsiteX8" fmla="*/ 1960033 w 2207683"/>
              <a:gd name="connsiteY8" fmla="*/ 1517650 h 1517650"/>
              <a:gd name="connsiteX9" fmla="*/ 1325033 w 2207683"/>
              <a:gd name="connsiteY9" fmla="*/ 1517650 h 1517650"/>
              <a:gd name="connsiteX10" fmla="*/ 1229783 w 2207683"/>
              <a:gd name="connsiteY10" fmla="*/ 1339850 h 1517650"/>
              <a:gd name="connsiteX11" fmla="*/ 1788583 w 2207683"/>
              <a:gd name="connsiteY11" fmla="*/ 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582083" y="0"/>
                </a:moveTo>
                <a:lnTo>
                  <a:pt x="1001183" y="0"/>
                </a:lnTo>
                <a:lnTo>
                  <a:pt x="753533" y="1517650"/>
                </a:lnTo>
                <a:lnTo>
                  <a:pt x="118533" y="1517650"/>
                </a:lnTo>
                <a:cubicBezTo>
                  <a:pt x="-8467" y="1517650"/>
                  <a:pt x="-21167" y="1447800"/>
                  <a:pt x="23283" y="1339850"/>
                </a:cubicBezTo>
                <a:lnTo>
                  <a:pt x="582083" y="0"/>
                </a:lnTo>
                <a:close/>
                <a:moveTo>
                  <a:pt x="1788583" y="0"/>
                </a:moveTo>
                <a:lnTo>
                  <a:pt x="2207683" y="0"/>
                </a:lnTo>
                <a:lnTo>
                  <a:pt x="1960033" y="1517650"/>
                </a:lnTo>
                <a:lnTo>
                  <a:pt x="1325033" y="1517650"/>
                </a:lnTo>
                <a:cubicBezTo>
                  <a:pt x="1198033" y="1517650"/>
                  <a:pt x="1185333" y="1447800"/>
                  <a:pt x="1229783" y="1339850"/>
                </a:cubicBezTo>
                <a:lnTo>
                  <a:pt x="1788583" y="0"/>
                </a:lnTo>
                <a:close/>
              </a:path>
            </a:pathLst>
          </a:custGeom>
          <a:solidFill>
            <a:srgbClr val="66F58A"/>
          </a:solidFill>
          <a:ln w="6350" cap="flat">
            <a:noFill/>
            <a:prstDash val="solid"/>
            <a:miter/>
          </a:ln>
        </p:spPr>
        <p:txBody>
          <a:bodyPr rtlCol="0" anchor="ctr"/>
          <a:lstStyle/>
          <a:p>
            <a:endParaRPr lang="da-DK"/>
          </a:p>
        </p:txBody>
      </p:sp>
      <p:sp>
        <p:nvSpPr>
          <p:cNvPr id="11" name="Kombinationstegning: figur 10">
            <a:extLst>
              <a:ext uri="{FF2B5EF4-FFF2-40B4-BE49-F238E27FC236}">
                <a16:creationId xmlns:a16="http://schemas.microsoft.com/office/drawing/2014/main" id="{57E36AE6-6B05-6B70-BA3E-561CBB7BAD17}"/>
              </a:ext>
            </a:extLst>
          </p:cNvPr>
          <p:cNvSpPr>
            <a:spLocks noChangeAspect="1"/>
          </p:cNvSpPr>
          <p:nvPr/>
        </p:nvSpPr>
        <p:spPr>
          <a:xfrm>
            <a:off x="9871075" y="5553599"/>
            <a:ext cx="1900800" cy="1306686"/>
          </a:xfrm>
          <a:custGeom>
            <a:avLst/>
            <a:gdLst>
              <a:gd name="connsiteX0" fmla="*/ 419100 w 2207683"/>
              <a:gd name="connsiteY0" fmla="*/ 1517650 h 1517650"/>
              <a:gd name="connsiteX1" fmla="*/ 0 w 2207683"/>
              <a:gd name="connsiteY1" fmla="*/ 1517650 h 1517650"/>
              <a:gd name="connsiteX2" fmla="*/ 247650 w 2207683"/>
              <a:gd name="connsiteY2" fmla="*/ 0 h 1517650"/>
              <a:gd name="connsiteX3" fmla="*/ 882650 w 2207683"/>
              <a:gd name="connsiteY3" fmla="*/ 0 h 1517650"/>
              <a:gd name="connsiteX4" fmla="*/ 977900 w 2207683"/>
              <a:gd name="connsiteY4" fmla="*/ 177800 h 1517650"/>
              <a:gd name="connsiteX5" fmla="*/ 419100 w 2207683"/>
              <a:gd name="connsiteY5" fmla="*/ 1517650 h 1517650"/>
              <a:gd name="connsiteX6" fmla="*/ 1625600 w 2207683"/>
              <a:gd name="connsiteY6" fmla="*/ 1517650 h 1517650"/>
              <a:gd name="connsiteX7" fmla="*/ 1206500 w 2207683"/>
              <a:gd name="connsiteY7" fmla="*/ 1517650 h 1517650"/>
              <a:gd name="connsiteX8" fmla="*/ 1454150 w 2207683"/>
              <a:gd name="connsiteY8" fmla="*/ 0 h 1517650"/>
              <a:gd name="connsiteX9" fmla="*/ 2089150 w 2207683"/>
              <a:gd name="connsiteY9" fmla="*/ 0 h 1517650"/>
              <a:gd name="connsiteX10" fmla="*/ 2184400 w 2207683"/>
              <a:gd name="connsiteY10" fmla="*/ 177800 h 1517650"/>
              <a:gd name="connsiteX11" fmla="*/ 1625600 w 2207683"/>
              <a:gd name="connsiteY11" fmla="*/ 151765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419100" y="1517650"/>
                </a:moveTo>
                <a:lnTo>
                  <a:pt x="0" y="1517650"/>
                </a:lnTo>
                <a:lnTo>
                  <a:pt x="247650" y="0"/>
                </a:lnTo>
                <a:lnTo>
                  <a:pt x="882650" y="0"/>
                </a:lnTo>
                <a:cubicBezTo>
                  <a:pt x="1009650" y="0"/>
                  <a:pt x="1022350" y="69850"/>
                  <a:pt x="977900" y="177800"/>
                </a:cubicBezTo>
                <a:lnTo>
                  <a:pt x="419100" y="1517650"/>
                </a:lnTo>
                <a:close/>
                <a:moveTo>
                  <a:pt x="1625600" y="1517650"/>
                </a:moveTo>
                <a:lnTo>
                  <a:pt x="1206500" y="1517650"/>
                </a:lnTo>
                <a:lnTo>
                  <a:pt x="1454150" y="0"/>
                </a:lnTo>
                <a:lnTo>
                  <a:pt x="2089150" y="0"/>
                </a:lnTo>
                <a:cubicBezTo>
                  <a:pt x="2216150" y="0"/>
                  <a:pt x="2228850" y="69850"/>
                  <a:pt x="2184400" y="177800"/>
                </a:cubicBezTo>
                <a:lnTo>
                  <a:pt x="1625600" y="1517650"/>
                </a:lnTo>
                <a:close/>
              </a:path>
            </a:pathLst>
          </a:custGeom>
          <a:solidFill>
            <a:srgbClr val="66F58A"/>
          </a:solidFill>
          <a:ln w="6350" cap="flat">
            <a:noFill/>
            <a:prstDash val="solid"/>
            <a:miter/>
          </a:ln>
        </p:spPr>
        <p:txBody>
          <a:bodyPr rtlCol="0" anchor="ctr"/>
          <a:lstStyle/>
          <a:p>
            <a:endParaRPr lang="da-DK">
              <a:solidFill>
                <a:schemeClr val="accent1"/>
              </a:solidFill>
            </a:endParaRPr>
          </a:p>
        </p:txBody>
      </p:sp>
      <p:pic>
        <p:nvPicPr>
          <p:cNvPr id="3" name="Graphic 5">
            <a:extLst>
              <a:ext uri="{FF2B5EF4-FFF2-40B4-BE49-F238E27FC236}">
                <a16:creationId xmlns:a16="http://schemas.microsoft.com/office/drawing/2014/main" id="{CD3F4DF6-1E96-E086-5E31-358D1B86B4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Title 1">
            <a:extLst>
              <a:ext uri="{FF2B5EF4-FFF2-40B4-BE49-F238E27FC236}">
                <a16:creationId xmlns:a16="http://schemas.microsoft.com/office/drawing/2014/main" id="{2CDCAAB6-6999-8BB9-B9EA-51F6D7622067}"/>
              </a:ext>
            </a:extLst>
          </p:cNvPr>
          <p:cNvSpPr>
            <a:spLocks noGrp="1"/>
          </p:cNvSpPr>
          <p:nvPr>
            <p:ph type="ctrTitle" hasCustomPrompt="1"/>
          </p:nvPr>
        </p:nvSpPr>
        <p:spPr>
          <a:xfrm>
            <a:off x="1375200" y="1925435"/>
            <a:ext cx="9440862" cy="3007130"/>
          </a:xfrm>
        </p:spPr>
        <p:txBody>
          <a:bodyPr anchor="ctr" anchorCtr="0">
            <a:noAutofit/>
          </a:bodyPr>
          <a:lstStyle>
            <a:lvl1pPr algn="ctr">
              <a:lnSpc>
                <a:spcPts val="5000"/>
              </a:lnSpc>
              <a:defRPr sz="4600">
                <a:solidFill>
                  <a:schemeClr val="bg1"/>
                </a:solidFill>
              </a:defRPr>
            </a:lvl1pPr>
          </a:lstStyle>
          <a:p>
            <a:r>
              <a:rPr lang="da-DK"/>
              <a:t>"Citat”</a:t>
            </a:r>
          </a:p>
        </p:txBody>
      </p:sp>
      <p:sp>
        <p:nvSpPr>
          <p:cNvPr id="14" name="Pladsholder til tekst 13">
            <a:extLst>
              <a:ext uri="{FF2B5EF4-FFF2-40B4-BE49-F238E27FC236}">
                <a16:creationId xmlns:a16="http://schemas.microsoft.com/office/drawing/2014/main" id="{68A13AFD-FEF2-49E8-C04E-C7AAC8330BD6}"/>
              </a:ext>
            </a:extLst>
          </p:cNvPr>
          <p:cNvSpPr>
            <a:spLocks noGrp="1"/>
          </p:cNvSpPr>
          <p:nvPr>
            <p:ph type="body" sz="quarter" idx="13" hasCustomPrompt="1"/>
          </p:nvPr>
        </p:nvSpPr>
        <p:spPr>
          <a:xfrm>
            <a:off x="1343025" y="5560421"/>
            <a:ext cx="9472613" cy="387350"/>
          </a:xfrm>
        </p:spPr>
        <p:txBody>
          <a:bodyPr/>
          <a:lstStyle>
            <a:lvl1pPr marL="0" indent="0" algn="ctr">
              <a:buNone/>
              <a:defRPr i="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da-DK"/>
              <a:t>Navn på person, stilling</a:t>
            </a:r>
          </a:p>
        </p:txBody>
      </p:sp>
      <p:sp>
        <p:nvSpPr>
          <p:cNvPr id="2" name="Slide Number Placeholder 5">
            <a:extLst>
              <a:ext uri="{FF2B5EF4-FFF2-40B4-BE49-F238E27FC236}">
                <a16:creationId xmlns:a16="http://schemas.microsoft.com/office/drawing/2014/main" id="{C73B6F4A-142F-B89C-1226-5DB13F6FAF4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2014031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kst Sto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41062-572A-D9DD-E27F-469CD0C7914D}"/>
              </a:ext>
            </a:extLst>
          </p:cNvPr>
          <p:cNvSpPr>
            <a:spLocks noGrp="1"/>
          </p:cNvSpPr>
          <p:nvPr>
            <p:ph type="ctrTitle" hasCustomPrompt="1"/>
          </p:nvPr>
        </p:nvSpPr>
        <p:spPr>
          <a:xfrm>
            <a:off x="431799" y="1152001"/>
            <a:ext cx="9440862" cy="4554000"/>
          </a:xfrm>
        </p:spPr>
        <p:txBody>
          <a:bodyPr anchor="ctr" anchorCtr="0">
            <a:noAutofit/>
          </a:bodyPr>
          <a:lstStyle>
            <a:lvl1pPr algn="l">
              <a:lnSpc>
                <a:spcPts val="4400"/>
              </a:lnSpc>
              <a:defRPr sz="3600"/>
            </a:lvl1pPr>
          </a:lstStyle>
          <a:p>
            <a:r>
              <a:rPr lang="da-DK">
                <a:solidFill>
                  <a:srgbClr val="121212"/>
                </a:solidFill>
                <a:effectLst/>
                <a:latin typeface="Eifont Display" pitchFamily="2" charset="77"/>
              </a:rPr>
              <a:t>Tekst</a:t>
            </a:r>
          </a:p>
        </p:txBody>
      </p:sp>
      <p:pic>
        <p:nvPicPr>
          <p:cNvPr id="3" name="Graphic 5">
            <a:extLst>
              <a:ext uri="{FF2B5EF4-FFF2-40B4-BE49-F238E27FC236}">
                <a16:creationId xmlns:a16="http://schemas.microsoft.com/office/drawing/2014/main" id="{13DCB14B-5BBF-B445-EBCE-CBEF13C83B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6AE954D4-C10A-9F98-2DF2-BCBCBAD8AF7B}"/>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15242963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kst Meg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9" y="431802"/>
            <a:ext cx="6607176" cy="966187"/>
          </a:xfrm>
        </p:spPr>
        <p:txBody>
          <a:bodyPr anchor="b"/>
          <a:lstStyle/>
          <a:p>
            <a:r>
              <a:rPr lang="da-DK"/>
              <a:t>Overskrift</a:t>
            </a:r>
            <a:br>
              <a:rPr lang="da-DK"/>
            </a:br>
            <a:r>
              <a:rPr lang="da-DK"/>
              <a:t>max 2 linjer</a:t>
            </a:r>
          </a:p>
        </p:txBody>
      </p:sp>
      <p:pic>
        <p:nvPicPr>
          <p:cNvPr id="4" name="Graphic 5">
            <a:extLst>
              <a:ext uri="{FF2B5EF4-FFF2-40B4-BE49-F238E27FC236}">
                <a16:creationId xmlns:a16="http://schemas.microsoft.com/office/drawing/2014/main" id="{9B5DABFA-0A5F-BBFF-EF20-EA66804F16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0"/>
            <a:ext cx="6607175"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3" name="Slide Number Placeholder 5">
            <a:extLst>
              <a:ext uri="{FF2B5EF4-FFF2-40B4-BE49-F238E27FC236}">
                <a16:creationId xmlns:a16="http://schemas.microsoft.com/office/drawing/2014/main" id="{BF09D65B-135B-8A55-4923-8D98178C6AA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9" name="Pladsholder til tekst 8">
            <a:extLst>
              <a:ext uri="{FF2B5EF4-FFF2-40B4-BE49-F238E27FC236}">
                <a16:creationId xmlns:a16="http://schemas.microsoft.com/office/drawing/2014/main" id="{8E43212D-0C3D-30DF-D946-322825C31034}"/>
              </a:ext>
            </a:extLst>
          </p:cNvPr>
          <p:cNvSpPr>
            <a:spLocks noGrp="1"/>
          </p:cNvSpPr>
          <p:nvPr>
            <p:ph type="body" sz="quarter" idx="16" hasCustomPrompt="1"/>
          </p:nvPr>
        </p:nvSpPr>
        <p:spPr>
          <a:xfrm>
            <a:off x="431800" y="2154634"/>
            <a:ext cx="11326813" cy="353428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670629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kst 2 kolon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9" y="431802"/>
            <a:ext cx="5112001" cy="966187"/>
          </a:xfrm>
        </p:spPr>
        <p:txBody>
          <a:bodyPr anchor="b"/>
          <a:lstStyle/>
          <a:p>
            <a:r>
              <a:rPr lang="da-DK"/>
              <a:t>Overskrift</a:t>
            </a:r>
            <a:br>
              <a:rPr lang="da-DK"/>
            </a:br>
            <a:r>
              <a:rPr lang="da-DK"/>
              <a:t>max 2 linjer</a:t>
            </a:r>
          </a:p>
        </p:txBody>
      </p:sp>
      <p:sp>
        <p:nvSpPr>
          <p:cNvPr id="3" name="Content Placeholder 2">
            <a:extLst>
              <a:ext uri="{FF2B5EF4-FFF2-40B4-BE49-F238E27FC236}">
                <a16:creationId xmlns:a16="http://schemas.microsoft.com/office/drawing/2014/main" id="{30292139-16EA-82EE-29B6-B3F1ECEE0502}"/>
              </a:ext>
            </a:extLst>
          </p:cNvPr>
          <p:cNvSpPr>
            <a:spLocks noGrp="1"/>
          </p:cNvSpPr>
          <p:nvPr>
            <p:ph idx="1" hasCustomPrompt="1"/>
          </p:nvPr>
        </p:nvSpPr>
        <p:spPr>
          <a:xfrm>
            <a:off x="431800" y="2671200"/>
            <a:ext cx="5112000" cy="3034801"/>
          </a:xfrm>
        </p:spPr>
        <p:txBody>
          <a:bodyPr/>
          <a:lstStyle>
            <a:lvl1pPr marL="0" indent="0">
              <a:lnSpc>
                <a:spcPts val="2200"/>
              </a:lnSpc>
              <a:spcBef>
                <a:spcPts val="0"/>
              </a:spcBef>
              <a:buFontTx/>
              <a:buNone/>
              <a:defRPr/>
            </a:lvl1pPr>
            <a:lvl2pPr marL="215900" indent="0">
              <a:lnSpc>
                <a:spcPts val="2200"/>
              </a:lnSpc>
              <a:spcBef>
                <a:spcPts val="0"/>
              </a:spcBef>
              <a:buFontTx/>
              <a:buNone/>
              <a:tabLst/>
              <a:defRPr/>
            </a:lvl2pPr>
            <a:lvl3pPr marL="215900" indent="0">
              <a:lnSpc>
                <a:spcPts val="2200"/>
              </a:lnSpc>
              <a:spcBef>
                <a:spcPts val="0"/>
              </a:spcBef>
              <a:buFontTx/>
              <a:buNone/>
              <a:tabLst/>
              <a:defRPr/>
            </a:lvl3pPr>
            <a:lvl4pPr marL="215900" indent="0">
              <a:lnSpc>
                <a:spcPts val="2200"/>
              </a:lnSpc>
              <a:spcBef>
                <a:spcPts val="0"/>
              </a:spcBef>
              <a:buFontTx/>
              <a:buNone/>
              <a:tabLst/>
              <a:defRPr/>
            </a:lvl4pPr>
            <a:lvl5pPr marL="215900" indent="0">
              <a:lnSpc>
                <a:spcPts val="2200"/>
              </a:lnSpc>
              <a:spcBef>
                <a:spcPts val="0"/>
              </a:spcBef>
              <a:buFontTx/>
              <a:buNone/>
              <a:tabLst/>
              <a:defRPr/>
            </a:lvl5pPr>
          </a:lstStyle>
          <a:p>
            <a:pPr lvl="0"/>
            <a:r>
              <a:rPr lang="da-DK" err="1"/>
              <a:t>Multiplaceholder</a:t>
            </a:r>
            <a:endParaRPr lang="da-DK"/>
          </a:p>
        </p:txBody>
      </p:sp>
      <p:sp>
        <p:nvSpPr>
          <p:cNvPr id="8" name="Content Placeholder 2">
            <a:extLst>
              <a:ext uri="{FF2B5EF4-FFF2-40B4-BE49-F238E27FC236}">
                <a16:creationId xmlns:a16="http://schemas.microsoft.com/office/drawing/2014/main" id="{7E042F1F-2BFF-CAAF-D0E1-263B9E792B64}"/>
              </a:ext>
            </a:extLst>
          </p:cNvPr>
          <p:cNvSpPr>
            <a:spLocks noGrp="1"/>
          </p:cNvSpPr>
          <p:nvPr>
            <p:ph idx="13" hasCustomPrompt="1"/>
          </p:nvPr>
        </p:nvSpPr>
        <p:spPr>
          <a:xfrm>
            <a:off x="6646613" y="2671200"/>
            <a:ext cx="5112000" cy="3034801"/>
          </a:xfrm>
        </p:spPr>
        <p:txBody>
          <a:bodyPr/>
          <a:lstStyle>
            <a:lvl1pPr marL="0" indent="0">
              <a:lnSpc>
                <a:spcPts val="2200"/>
              </a:lnSpc>
              <a:spcBef>
                <a:spcPts val="0"/>
              </a:spcBef>
              <a:buFontTx/>
              <a:buNone/>
              <a:defRPr/>
            </a:lvl1pPr>
            <a:lvl2pPr marL="215900" indent="0">
              <a:lnSpc>
                <a:spcPts val="2200"/>
              </a:lnSpc>
              <a:spcBef>
                <a:spcPts val="0"/>
              </a:spcBef>
              <a:buFontTx/>
              <a:buNone/>
              <a:tabLst/>
              <a:defRPr/>
            </a:lvl2pPr>
            <a:lvl3pPr marL="215900" indent="0">
              <a:lnSpc>
                <a:spcPts val="2200"/>
              </a:lnSpc>
              <a:spcBef>
                <a:spcPts val="0"/>
              </a:spcBef>
              <a:buFontTx/>
              <a:buNone/>
              <a:tabLst/>
              <a:defRPr/>
            </a:lvl3pPr>
            <a:lvl4pPr marL="215900" indent="0">
              <a:lnSpc>
                <a:spcPts val="2200"/>
              </a:lnSpc>
              <a:spcBef>
                <a:spcPts val="0"/>
              </a:spcBef>
              <a:buFontTx/>
              <a:buNone/>
              <a:tabLst/>
              <a:defRPr/>
            </a:lvl4pPr>
            <a:lvl5pPr marL="215900" indent="0">
              <a:lnSpc>
                <a:spcPts val="2200"/>
              </a:lnSpc>
              <a:spcBef>
                <a:spcPts val="0"/>
              </a:spcBef>
              <a:buFontTx/>
              <a:buNone/>
              <a:tabLst/>
              <a:defRPr/>
            </a:lvl5pPr>
          </a:lstStyle>
          <a:p>
            <a:pPr lvl="0"/>
            <a:r>
              <a:rPr lang="da-DK" err="1"/>
              <a:t>Multiplaceholder</a:t>
            </a:r>
            <a:endParaRPr lang="da-DK"/>
          </a:p>
        </p:txBody>
      </p:sp>
      <p:pic>
        <p:nvPicPr>
          <p:cNvPr id="4" name="Graphic 5">
            <a:extLst>
              <a:ext uri="{FF2B5EF4-FFF2-40B4-BE49-F238E27FC236}">
                <a16:creationId xmlns:a16="http://schemas.microsoft.com/office/drawing/2014/main" id="{9B5DABFA-0A5F-BBFF-EF20-EA66804F16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5" name="Slide Number Placeholder 5">
            <a:extLst>
              <a:ext uri="{FF2B5EF4-FFF2-40B4-BE49-F238E27FC236}">
                <a16:creationId xmlns:a16="http://schemas.microsoft.com/office/drawing/2014/main" id="{6FAEEFA3-C32E-4F47-6108-44ABD57503D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6" name="Pladsholder til tekst 6">
            <a:extLst>
              <a:ext uri="{FF2B5EF4-FFF2-40B4-BE49-F238E27FC236}">
                <a16:creationId xmlns:a16="http://schemas.microsoft.com/office/drawing/2014/main" id="{17A9B26C-860C-A094-5021-3AF141B837B7}"/>
              </a:ext>
            </a:extLst>
          </p:cNvPr>
          <p:cNvSpPr>
            <a:spLocks noGrp="1"/>
          </p:cNvSpPr>
          <p:nvPr>
            <p:ph type="body" sz="quarter" idx="14" hasCustomPrompt="1"/>
          </p:nvPr>
        </p:nvSpPr>
        <p:spPr>
          <a:xfrm>
            <a:off x="431800" y="1440000"/>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Tree>
    <p:extLst>
      <p:ext uri="{BB962C8B-B14F-4D97-AF65-F5344CB8AC3E}">
        <p14:creationId xmlns:p14="http://schemas.microsoft.com/office/powerpoint/2010/main" val="20536702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kst 2 Bullet Kolonner">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BE274BD9-CD5C-AB76-D8FB-63DEB62A10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9" name="Title 1">
            <a:extLst>
              <a:ext uri="{FF2B5EF4-FFF2-40B4-BE49-F238E27FC236}">
                <a16:creationId xmlns:a16="http://schemas.microsoft.com/office/drawing/2014/main" id="{5BE9A518-C4FD-0CB0-7EA5-047E0104B3EF}"/>
              </a:ext>
            </a:extLst>
          </p:cNvPr>
          <p:cNvSpPr>
            <a:spLocks noGrp="1"/>
          </p:cNvSpPr>
          <p:nvPr>
            <p:ph type="title" hasCustomPrompt="1"/>
          </p:nvPr>
        </p:nvSpPr>
        <p:spPr>
          <a:xfrm>
            <a:off x="431799" y="431802"/>
            <a:ext cx="5112001" cy="966187"/>
          </a:xfrm>
        </p:spPr>
        <p:txBody>
          <a:bodyPr anchor="b"/>
          <a:lstStyle/>
          <a:p>
            <a:r>
              <a:rPr lang="da-DK"/>
              <a:t>Overskrift</a:t>
            </a:r>
            <a:br>
              <a:rPr lang="da-DK"/>
            </a:br>
            <a:r>
              <a:rPr lang="da-DK"/>
              <a:t>max 2 linjer</a:t>
            </a:r>
          </a:p>
        </p:txBody>
      </p:sp>
      <p:sp>
        <p:nvSpPr>
          <p:cNvPr id="2" name="Slide Number Placeholder 5">
            <a:extLst>
              <a:ext uri="{FF2B5EF4-FFF2-40B4-BE49-F238E27FC236}">
                <a16:creationId xmlns:a16="http://schemas.microsoft.com/office/drawing/2014/main" id="{2E750B6A-DF7F-B737-CBFD-8D665326424A}"/>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4" name="Pladsholder til tekst 6">
            <a:extLst>
              <a:ext uri="{FF2B5EF4-FFF2-40B4-BE49-F238E27FC236}">
                <a16:creationId xmlns:a16="http://schemas.microsoft.com/office/drawing/2014/main" id="{F83949DD-E8E3-44D8-D40B-6C8DF6F094A7}"/>
              </a:ext>
            </a:extLst>
          </p:cNvPr>
          <p:cNvSpPr>
            <a:spLocks noGrp="1"/>
          </p:cNvSpPr>
          <p:nvPr>
            <p:ph type="body" sz="quarter" idx="14" hasCustomPrompt="1"/>
          </p:nvPr>
        </p:nvSpPr>
        <p:spPr>
          <a:xfrm>
            <a:off x="431800" y="1440000"/>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6" name="Pladsholder til tekst 5">
            <a:extLst>
              <a:ext uri="{FF2B5EF4-FFF2-40B4-BE49-F238E27FC236}">
                <a16:creationId xmlns:a16="http://schemas.microsoft.com/office/drawing/2014/main" id="{23E4FE8A-5C96-FA2A-3A21-8F4CEE0D3366}"/>
              </a:ext>
            </a:extLst>
          </p:cNvPr>
          <p:cNvSpPr>
            <a:spLocks noGrp="1"/>
          </p:cNvSpPr>
          <p:nvPr>
            <p:ph type="body" sz="quarter" idx="17" hasCustomPrompt="1"/>
          </p:nvPr>
        </p:nvSpPr>
        <p:spPr>
          <a:xfrm>
            <a:off x="431800" y="2160000"/>
            <a:ext cx="5111750" cy="3033712"/>
          </a:xfrm>
        </p:spPr>
        <p:txBody>
          <a:bodyPr/>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5">
            <a:extLst>
              <a:ext uri="{FF2B5EF4-FFF2-40B4-BE49-F238E27FC236}">
                <a16:creationId xmlns:a16="http://schemas.microsoft.com/office/drawing/2014/main" id="{DDD62579-7D4B-4062-7ACA-8285D2F68C3D}"/>
              </a:ext>
            </a:extLst>
          </p:cNvPr>
          <p:cNvSpPr>
            <a:spLocks noGrp="1"/>
          </p:cNvSpPr>
          <p:nvPr>
            <p:ph type="body" sz="quarter" idx="18" hasCustomPrompt="1"/>
          </p:nvPr>
        </p:nvSpPr>
        <p:spPr>
          <a:xfrm>
            <a:off x="6646863" y="2160000"/>
            <a:ext cx="5111750" cy="3033712"/>
          </a:xfrm>
        </p:spPr>
        <p:txBody>
          <a:bodyPr/>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899375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kst 2 Kolonner Bullets/bille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26A2D100-10F7-37EE-05A7-31482CC5DAD4}"/>
              </a:ext>
            </a:extLst>
          </p:cNvPr>
          <p:cNvSpPr>
            <a:spLocks noGrp="1"/>
          </p:cNvSpPr>
          <p:nvPr>
            <p:ph type="pic" sz="quarter" idx="14" hasCustomPrompt="1"/>
          </p:nvPr>
        </p:nvSpPr>
        <p:spPr>
          <a:xfrm>
            <a:off x="6648202" y="1101495"/>
            <a:ext cx="5112000" cy="5325720"/>
          </a:xfrm>
          <a:prstGeom prst="roundRect">
            <a:avLst>
              <a:gd name="adj" fmla="val 3025"/>
            </a:avLst>
          </a:prstGeom>
          <a:noFill/>
        </p:spPr>
        <p:txBody>
          <a:bodyPr>
            <a:normAutofit/>
          </a:bodyPr>
          <a:lstStyle>
            <a:lvl1pPr marL="0" indent="0" algn="ctr">
              <a:buFontTx/>
              <a:buNone/>
              <a:defRPr sz="1000"/>
            </a:lvl1pPr>
          </a:lstStyle>
          <a:p>
            <a:r>
              <a:rPr lang="da-DK"/>
              <a:t>Klik på ikonet for at tilføje et billede</a:t>
            </a:r>
          </a:p>
        </p:txBody>
      </p:sp>
      <p:pic>
        <p:nvPicPr>
          <p:cNvPr id="3" name="Graphic 5">
            <a:extLst>
              <a:ext uri="{FF2B5EF4-FFF2-40B4-BE49-F238E27FC236}">
                <a16:creationId xmlns:a16="http://schemas.microsoft.com/office/drawing/2014/main" id="{291C4C71-D259-483E-2501-05DF93B2AF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0" name="Title 1">
            <a:extLst>
              <a:ext uri="{FF2B5EF4-FFF2-40B4-BE49-F238E27FC236}">
                <a16:creationId xmlns:a16="http://schemas.microsoft.com/office/drawing/2014/main" id="{63359E18-D071-D6AB-5342-DE9A7247E9F2}"/>
              </a:ext>
            </a:extLst>
          </p:cNvPr>
          <p:cNvSpPr>
            <a:spLocks noGrp="1"/>
          </p:cNvSpPr>
          <p:nvPr>
            <p:ph type="title" hasCustomPrompt="1"/>
          </p:nvPr>
        </p:nvSpPr>
        <p:spPr>
          <a:xfrm>
            <a:off x="431799" y="431802"/>
            <a:ext cx="5112001" cy="966187"/>
          </a:xfrm>
        </p:spPr>
        <p:txBody>
          <a:bodyPr anchor="b"/>
          <a:lstStyle/>
          <a:p>
            <a:r>
              <a:rPr lang="da-DK"/>
              <a:t>Overskrift</a:t>
            </a:r>
            <a:br>
              <a:rPr lang="da-DK"/>
            </a:br>
            <a:r>
              <a:rPr lang="da-DK"/>
              <a:t>max 2 linjer</a:t>
            </a:r>
          </a:p>
        </p:txBody>
      </p:sp>
      <p:sp>
        <p:nvSpPr>
          <p:cNvPr id="2" name="Slide Number Placeholder 5">
            <a:extLst>
              <a:ext uri="{FF2B5EF4-FFF2-40B4-BE49-F238E27FC236}">
                <a16:creationId xmlns:a16="http://schemas.microsoft.com/office/drawing/2014/main" id="{0DB4FD07-4843-741B-94BF-C71ADB7816C3}"/>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4" name="Pladsholder til tekst 6">
            <a:extLst>
              <a:ext uri="{FF2B5EF4-FFF2-40B4-BE49-F238E27FC236}">
                <a16:creationId xmlns:a16="http://schemas.microsoft.com/office/drawing/2014/main" id="{66BFF80C-23C1-BB7B-A994-F8F77CA0D03B}"/>
              </a:ext>
            </a:extLst>
          </p:cNvPr>
          <p:cNvSpPr>
            <a:spLocks noGrp="1"/>
          </p:cNvSpPr>
          <p:nvPr>
            <p:ph type="body" sz="quarter" idx="16" hasCustomPrompt="1"/>
          </p:nvPr>
        </p:nvSpPr>
        <p:spPr>
          <a:xfrm>
            <a:off x="431800" y="1440000"/>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5" name="Pladsholder til tekst 5">
            <a:extLst>
              <a:ext uri="{FF2B5EF4-FFF2-40B4-BE49-F238E27FC236}">
                <a16:creationId xmlns:a16="http://schemas.microsoft.com/office/drawing/2014/main" id="{9963FCE5-784F-BC26-5CAB-223699192A32}"/>
              </a:ext>
            </a:extLst>
          </p:cNvPr>
          <p:cNvSpPr>
            <a:spLocks noGrp="1"/>
          </p:cNvSpPr>
          <p:nvPr>
            <p:ph type="body" sz="quarter" idx="17" hasCustomPrompt="1"/>
          </p:nvPr>
        </p:nvSpPr>
        <p:spPr>
          <a:xfrm>
            <a:off x="431800" y="2160000"/>
            <a:ext cx="5111750" cy="3033712"/>
          </a:xfrm>
        </p:spPr>
        <p:txBody>
          <a:bodyPr/>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017916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orside m. 5. element og basis form">
    <p:bg>
      <p:bgPr>
        <a:solidFill>
          <a:schemeClr val="accent2"/>
        </a:solidFill>
        <a:effectLst/>
      </p:bgPr>
    </p:bg>
    <p:spTree>
      <p:nvGrpSpPr>
        <p:cNvPr id="1" name=""/>
        <p:cNvGrpSpPr/>
        <p:nvPr/>
      </p:nvGrpSpPr>
      <p:grpSpPr>
        <a:xfrm>
          <a:off x="0" y="0"/>
          <a:ext cx="0" cy="0"/>
          <a:chOff x="0" y="0"/>
          <a:chExt cx="0" cy="0"/>
        </a:xfrm>
      </p:grpSpPr>
      <p:pic>
        <p:nvPicPr>
          <p:cNvPr id="6" name="Picture 5" descr="Shape, arrow&#10;&#10;Description automatically generated">
            <a:extLst>
              <a:ext uri="{FF2B5EF4-FFF2-40B4-BE49-F238E27FC236}">
                <a16:creationId xmlns:a16="http://schemas.microsoft.com/office/drawing/2014/main" id="{64822B49-176C-9EF2-BDE3-BB8C5FBC9D0B}"/>
              </a:ext>
            </a:extLst>
          </p:cNvPr>
          <p:cNvPicPr>
            <a:picLocks noChangeAspect="1"/>
          </p:cNvPicPr>
          <p:nvPr/>
        </p:nvPicPr>
        <p:blipFill>
          <a:blip r:embed="rId2"/>
          <a:stretch>
            <a:fillRect/>
          </a:stretch>
        </p:blipFill>
        <p:spPr>
          <a:xfrm>
            <a:off x="7983538" y="2643164"/>
            <a:ext cx="4209132" cy="4214836"/>
          </a:xfrm>
          <a:prstGeom prst="rect">
            <a:avLst/>
          </a:prstGeom>
        </p:spPr>
      </p:pic>
      <p:pic>
        <p:nvPicPr>
          <p:cNvPr id="5" name="Graphic 4">
            <a:extLst>
              <a:ext uri="{FF2B5EF4-FFF2-40B4-BE49-F238E27FC236}">
                <a16:creationId xmlns:a16="http://schemas.microsoft.com/office/drawing/2014/main" id="{ADB440BB-DFA9-6482-FBC7-D376D4F4C0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4800600" cy="6858000"/>
          </a:xfrm>
          <a:prstGeom prst="rect">
            <a:avLst/>
          </a:prstGeom>
        </p:spPr>
      </p:pic>
      <p:pic>
        <p:nvPicPr>
          <p:cNvPr id="7" name="Graphic 5">
            <a:extLst>
              <a:ext uri="{FF2B5EF4-FFF2-40B4-BE49-F238E27FC236}">
                <a16:creationId xmlns:a16="http://schemas.microsoft.com/office/drawing/2014/main" id="{7A7A1013-24F5-7404-250F-5694298A1B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8" name="Title 1">
            <a:extLst>
              <a:ext uri="{FF2B5EF4-FFF2-40B4-BE49-F238E27FC236}">
                <a16:creationId xmlns:a16="http://schemas.microsoft.com/office/drawing/2014/main" id="{18375288-4A21-298C-1A88-A9BA1C2AF627}"/>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tx1"/>
                </a:solidFill>
              </a:defRPr>
            </a:lvl1pPr>
          </a:lstStyle>
          <a:p>
            <a:r>
              <a:rPr lang="da-DK"/>
              <a:t>Overskrift</a:t>
            </a:r>
            <a:br>
              <a:rPr lang="da-DK"/>
            </a:br>
            <a:r>
              <a:rPr lang="da-DK"/>
              <a:t>max 2 linjer</a:t>
            </a:r>
          </a:p>
        </p:txBody>
      </p:sp>
      <p:sp>
        <p:nvSpPr>
          <p:cNvPr id="9" name="Subtitle 2">
            <a:extLst>
              <a:ext uri="{FF2B5EF4-FFF2-40B4-BE49-F238E27FC236}">
                <a16:creationId xmlns:a16="http://schemas.microsoft.com/office/drawing/2014/main" id="{88322174-CE4D-CC1D-A3D0-482D13EF7451}"/>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
        <p:nvSpPr>
          <p:cNvPr id="2" name="Slide Number Placeholder 5">
            <a:extLst>
              <a:ext uri="{FF2B5EF4-FFF2-40B4-BE49-F238E27FC236}">
                <a16:creationId xmlns:a16="http://schemas.microsoft.com/office/drawing/2014/main" id="{B0A65B72-FEEE-0096-6E96-3D23B9D0F30D}"/>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1565036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kst 2 Kolonner Billede/bullet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26A2D100-10F7-37EE-05A7-31482CC5DAD4}"/>
              </a:ext>
            </a:extLst>
          </p:cNvPr>
          <p:cNvSpPr>
            <a:spLocks noGrp="1"/>
          </p:cNvSpPr>
          <p:nvPr>
            <p:ph type="pic" sz="quarter" idx="14" hasCustomPrompt="1"/>
          </p:nvPr>
        </p:nvSpPr>
        <p:spPr>
          <a:xfrm>
            <a:off x="433389" y="1101495"/>
            <a:ext cx="5112000" cy="4824000"/>
          </a:xfrm>
          <a:prstGeom prst="roundRect">
            <a:avLst>
              <a:gd name="adj" fmla="val 3025"/>
            </a:avLst>
          </a:prstGeom>
          <a:noFill/>
        </p:spPr>
        <p:txBody>
          <a:bodyPr>
            <a:normAutofit/>
          </a:bodyPr>
          <a:lstStyle>
            <a:lvl1pPr marL="0" indent="0" algn="ctr">
              <a:buFontTx/>
              <a:buNone/>
              <a:defRPr sz="1000"/>
            </a:lvl1pPr>
          </a:lstStyle>
          <a:p>
            <a:r>
              <a:rPr lang="da-DK"/>
              <a:t>Klik på ikonet for at tilføje et billede</a:t>
            </a:r>
          </a:p>
        </p:txBody>
      </p:sp>
      <p:sp>
        <p:nvSpPr>
          <p:cNvPr id="8" name="Title 1">
            <a:extLst>
              <a:ext uri="{FF2B5EF4-FFF2-40B4-BE49-F238E27FC236}">
                <a16:creationId xmlns:a16="http://schemas.microsoft.com/office/drawing/2014/main" id="{7E756BBF-876E-F09F-FB07-24A747EB0C7E}"/>
              </a:ext>
            </a:extLst>
          </p:cNvPr>
          <p:cNvSpPr>
            <a:spLocks noGrp="1"/>
          </p:cNvSpPr>
          <p:nvPr>
            <p:ph type="title" hasCustomPrompt="1"/>
          </p:nvPr>
        </p:nvSpPr>
        <p:spPr>
          <a:xfrm>
            <a:off x="6400799" y="704260"/>
            <a:ext cx="5112001" cy="966187"/>
          </a:xfrm>
        </p:spPr>
        <p:txBody>
          <a:bodyPr anchor="b"/>
          <a:lstStyle/>
          <a:p>
            <a:r>
              <a:rPr lang="da-DK"/>
              <a:t>Overskrift</a:t>
            </a:r>
            <a:br>
              <a:rPr lang="da-DK"/>
            </a:br>
            <a:r>
              <a:rPr lang="da-DK"/>
              <a:t>max 2 linjer</a:t>
            </a:r>
          </a:p>
        </p:txBody>
      </p:sp>
      <p:sp>
        <p:nvSpPr>
          <p:cNvPr id="10" name="Pladsholder til tekst 6">
            <a:extLst>
              <a:ext uri="{FF2B5EF4-FFF2-40B4-BE49-F238E27FC236}">
                <a16:creationId xmlns:a16="http://schemas.microsoft.com/office/drawing/2014/main" id="{CF18E5C4-187D-3D71-A6D3-105D09970F74}"/>
              </a:ext>
            </a:extLst>
          </p:cNvPr>
          <p:cNvSpPr>
            <a:spLocks noGrp="1"/>
          </p:cNvSpPr>
          <p:nvPr>
            <p:ph type="body" sz="quarter" idx="17" hasCustomPrompt="1"/>
          </p:nvPr>
        </p:nvSpPr>
        <p:spPr>
          <a:xfrm>
            <a:off x="6400799" y="1670447"/>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2" name="Slide Number Placeholder 5">
            <a:extLst>
              <a:ext uri="{FF2B5EF4-FFF2-40B4-BE49-F238E27FC236}">
                <a16:creationId xmlns:a16="http://schemas.microsoft.com/office/drawing/2014/main" id="{FF03C340-7D14-AF25-D310-EF5A54DE4E86}"/>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3" name="Pladsholder til tekst 5">
            <a:extLst>
              <a:ext uri="{FF2B5EF4-FFF2-40B4-BE49-F238E27FC236}">
                <a16:creationId xmlns:a16="http://schemas.microsoft.com/office/drawing/2014/main" id="{7B9E353E-F366-55F6-5529-015DB6E24C59}"/>
              </a:ext>
            </a:extLst>
          </p:cNvPr>
          <p:cNvSpPr>
            <a:spLocks noGrp="1"/>
          </p:cNvSpPr>
          <p:nvPr>
            <p:ph type="body" sz="quarter" idx="18" hasCustomPrompt="1"/>
          </p:nvPr>
        </p:nvSpPr>
        <p:spPr>
          <a:xfrm>
            <a:off x="6401049" y="2671763"/>
            <a:ext cx="5111750" cy="3033712"/>
          </a:xfrm>
        </p:spPr>
        <p:txBody>
          <a:bodyPr/>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601294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sp>
        <p:nvSpPr>
          <p:cNvPr id="29" name="Text Placeholder 23">
            <a:extLst>
              <a:ext uri="{FF2B5EF4-FFF2-40B4-BE49-F238E27FC236}">
                <a16:creationId xmlns:a16="http://schemas.microsoft.com/office/drawing/2014/main" id="{B5A39A83-505D-EC24-7F1C-92C805332CD1}"/>
              </a:ext>
            </a:extLst>
          </p:cNvPr>
          <p:cNvSpPr>
            <a:spLocks noGrp="1"/>
          </p:cNvSpPr>
          <p:nvPr>
            <p:ph type="body" sz="quarter" idx="30" hasCustomPrompt="1"/>
          </p:nvPr>
        </p:nvSpPr>
        <p:spPr>
          <a:xfrm>
            <a:off x="7589589" y="3610782"/>
            <a:ext cx="4168800" cy="694800"/>
          </a:xfrm>
        </p:spPr>
        <p:txBody>
          <a:bodyPr/>
          <a:lstStyle>
            <a:lvl2pPr marL="222250" indent="0">
              <a:buNone/>
              <a:defRPr/>
            </a:lvl2pPr>
          </a:lstStyle>
          <a:p>
            <a:pPr lvl="0"/>
            <a:r>
              <a:rPr lang="da-DK"/>
              <a:t>Tekst</a:t>
            </a:r>
          </a:p>
        </p:txBody>
      </p:sp>
      <p:sp>
        <p:nvSpPr>
          <p:cNvPr id="26" name="Text Placeholder 23">
            <a:extLst>
              <a:ext uri="{FF2B5EF4-FFF2-40B4-BE49-F238E27FC236}">
                <a16:creationId xmlns:a16="http://schemas.microsoft.com/office/drawing/2014/main" id="{EF9C3057-C8D6-5807-9540-298D2B5E42A0}"/>
              </a:ext>
            </a:extLst>
          </p:cNvPr>
          <p:cNvSpPr>
            <a:spLocks noGrp="1"/>
          </p:cNvSpPr>
          <p:nvPr>
            <p:ph type="body" sz="quarter" idx="27" hasCustomPrompt="1"/>
          </p:nvPr>
        </p:nvSpPr>
        <p:spPr>
          <a:xfrm>
            <a:off x="1374775" y="4550364"/>
            <a:ext cx="4168800" cy="694800"/>
          </a:xfrm>
        </p:spPr>
        <p:txBody>
          <a:bodyPr/>
          <a:lstStyle>
            <a:lvl2pPr marL="222250" indent="0">
              <a:buNone/>
              <a:defRPr/>
            </a:lvl2pPr>
          </a:lstStyle>
          <a:p>
            <a:pPr lvl="0"/>
            <a:r>
              <a:rPr lang="da-DK"/>
              <a:t>Tekst</a:t>
            </a:r>
          </a:p>
        </p:txBody>
      </p:sp>
      <p:sp>
        <p:nvSpPr>
          <p:cNvPr id="12" name="Picture Placeholder 11">
            <a:extLst>
              <a:ext uri="{FF2B5EF4-FFF2-40B4-BE49-F238E27FC236}">
                <a16:creationId xmlns:a16="http://schemas.microsoft.com/office/drawing/2014/main" id="{EB177A0A-74C2-8D61-00DD-3CD74EA110F7}"/>
              </a:ext>
            </a:extLst>
          </p:cNvPr>
          <p:cNvSpPr>
            <a:spLocks noGrp="1"/>
          </p:cNvSpPr>
          <p:nvPr>
            <p:ph type="pic" sz="quarter" idx="14" hasCustomPrompt="1"/>
          </p:nvPr>
        </p:nvSpPr>
        <p:spPr>
          <a:xfrm>
            <a:off x="431799" y="2607362"/>
            <a:ext cx="756000" cy="757237"/>
          </a:xfrm>
        </p:spPr>
        <p:txBody>
          <a:bodyPr>
            <a:normAutofit/>
          </a:bodyPr>
          <a:lstStyle>
            <a:lvl1pPr marL="0" indent="0" algn="ctr">
              <a:buFontTx/>
              <a:buNone/>
              <a:defRPr sz="1100"/>
            </a:lvl1pPr>
          </a:lstStyle>
          <a:p>
            <a:r>
              <a:rPr lang="da-DK"/>
              <a:t>Ikon</a:t>
            </a:r>
          </a:p>
        </p:txBody>
      </p:sp>
      <p:sp>
        <p:nvSpPr>
          <p:cNvPr id="13" name="Picture Placeholder 11">
            <a:extLst>
              <a:ext uri="{FF2B5EF4-FFF2-40B4-BE49-F238E27FC236}">
                <a16:creationId xmlns:a16="http://schemas.microsoft.com/office/drawing/2014/main" id="{070642C5-0FDA-F75F-2F5B-66A3CE107EE5}"/>
              </a:ext>
            </a:extLst>
          </p:cNvPr>
          <p:cNvSpPr>
            <a:spLocks noGrp="1"/>
          </p:cNvSpPr>
          <p:nvPr>
            <p:ph type="pic" sz="quarter" idx="15" hasCustomPrompt="1"/>
          </p:nvPr>
        </p:nvSpPr>
        <p:spPr>
          <a:xfrm>
            <a:off x="431799" y="3546944"/>
            <a:ext cx="756000" cy="757237"/>
          </a:xfrm>
        </p:spPr>
        <p:txBody>
          <a:bodyPr>
            <a:normAutofit/>
          </a:bodyPr>
          <a:lstStyle>
            <a:lvl1pPr marL="0" indent="0" algn="ctr">
              <a:buFontTx/>
              <a:buNone/>
              <a:defRPr sz="1100"/>
            </a:lvl1pPr>
          </a:lstStyle>
          <a:p>
            <a:r>
              <a:rPr lang="da-DK"/>
              <a:t>Ikon</a:t>
            </a:r>
          </a:p>
        </p:txBody>
      </p:sp>
      <p:sp>
        <p:nvSpPr>
          <p:cNvPr id="14" name="Picture Placeholder 11">
            <a:extLst>
              <a:ext uri="{FF2B5EF4-FFF2-40B4-BE49-F238E27FC236}">
                <a16:creationId xmlns:a16="http://schemas.microsoft.com/office/drawing/2014/main" id="{0B014EBF-F068-FA60-94F2-C5812F40551E}"/>
              </a:ext>
            </a:extLst>
          </p:cNvPr>
          <p:cNvSpPr>
            <a:spLocks noGrp="1"/>
          </p:cNvSpPr>
          <p:nvPr>
            <p:ph type="pic" sz="quarter" idx="16" hasCustomPrompt="1"/>
          </p:nvPr>
        </p:nvSpPr>
        <p:spPr>
          <a:xfrm>
            <a:off x="431799" y="4486526"/>
            <a:ext cx="756000" cy="757237"/>
          </a:xfrm>
        </p:spPr>
        <p:txBody>
          <a:bodyPr>
            <a:normAutofit/>
          </a:bodyPr>
          <a:lstStyle>
            <a:lvl1pPr marL="0" indent="0" algn="ctr">
              <a:buFontTx/>
              <a:buNone/>
              <a:defRPr sz="1100"/>
            </a:lvl1pPr>
          </a:lstStyle>
          <a:p>
            <a:r>
              <a:rPr lang="da-DK"/>
              <a:t>Ikon</a:t>
            </a:r>
          </a:p>
        </p:txBody>
      </p:sp>
      <p:sp>
        <p:nvSpPr>
          <p:cNvPr id="18" name="Picture Placeholder 11">
            <a:extLst>
              <a:ext uri="{FF2B5EF4-FFF2-40B4-BE49-F238E27FC236}">
                <a16:creationId xmlns:a16="http://schemas.microsoft.com/office/drawing/2014/main" id="{EB762427-22A5-D78F-75F4-FFD07C76DD7E}"/>
              </a:ext>
            </a:extLst>
          </p:cNvPr>
          <p:cNvSpPr>
            <a:spLocks noGrp="1"/>
          </p:cNvSpPr>
          <p:nvPr>
            <p:ph type="pic" sz="quarter" idx="20" hasCustomPrompt="1"/>
          </p:nvPr>
        </p:nvSpPr>
        <p:spPr>
          <a:xfrm>
            <a:off x="6646613" y="2607362"/>
            <a:ext cx="756000" cy="757237"/>
          </a:xfrm>
        </p:spPr>
        <p:txBody>
          <a:bodyPr>
            <a:normAutofit/>
          </a:bodyPr>
          <a:lstStyle>
            <a:lvl1pPr marL="0" indent="0" algn="ctr">
              <a:buFontTx/>
              <a:buNone/>
              <a:defRPr sz="1100"/>
            </a:lvl1pPr>
          </a:lstStyle>
          <a:p>
            <a:r>
              <a:rPr lang="da-DK"/>
              <a:t>Ikon</a:t>
            </a:r>
          </a:p>
        </p:txBody>
      </p:sp>
      <p:sp>
        <p:nvSpPr>
          <p:cNvPr id="19" name="Picture Placeholder 11">
            <a:extLst>
              <a:ext uri="{FF2B5EF4-FFF2-40B4-BE49-F238E27FC236}">
                <a16:creationId xmlns:a16="http://schemas.microsoft.com/office/drawing/2014/main" id="{DD2D60BF-6744-CFB1-6CBC-01A5EDF7654E}"/>
              </a:ext>
            </a:extLst>
          </p:cNvPr>
          <p:cNvSpPr>
            <a:spLocks noGrp="1"/>
          </p:cNvSpPr>
          <p:nvPr>
            <p:ph type="pic" sz="quarter" idx="21" hasCustomPrompt="1"/>
          </p:nvPr>
        </p:nvSpPr>
        <p:spPr>
          <a:xfrm>
            <a:off x="6646613" y="3546944"/>
            <a:ext cx="756000" cy="757237"/>
          </a:xfrm>
        </p:spPr>
        <p:txBody>
          <a:bodyPr>
            <a:normAutofit/>
          </a:bodyPr>
          <a:lstStyle>
            <a:lvl1pPr marL="0" indent="0" algn="ctr">
              <a:buFontTx/>
              <a:buNone/>
              <a:defRPr sz="1100"/>
            </a:lvl1pPr>
          </a:lstStyle>
          <a:p>
            <a:r>
              <a:rPr lang="da-DK"/>
              <a:t>Ikon</a:t>
            </a:r>
          </a:p>
        </p:txBody>
      </p:sp>
      <p:sp>
        <p:nvSpPr>
          <p:cNvPr id="20" name="Picture Placeholder 11">
            <a:extLst>
              <a:ext uri="{FF2B5EF4-FFF2-40B4-BE49-F238E27FC236}">
                <a16:creationId xmlns:a16="http://schemas.microsoft.com/office/drawing/2014/main" id="{787D596C-A30E-CBF8-2DBE-586A9D5D8979}"/>
              </a:ext>
            </a:extLst>
          </p:cNvPr>
          <p:cNvSpPr>
            <a:spLocks noGrp="1"/>
          </p:cNvSpPr>
          <p:nvPr>
            <p:ph type="pic" sz="quarter" idx="22" hasCustomPrompt="1"/>
          </p:nvPr>
        </p:nvSpPr>
        <p:spPr>
          <a:xfrm>
            <a:off x="6646613" y="4486526"/>
            <a:ext cx="756000" cy="757237"/>
          </a:xfrm>
        </p:spPr>
        <p:txBody>
          <a:bodyPr>
            <a:normAutofit/>
          </a:bodyPr>
          <a:lstStyle>
            <a:lvl1pPr marL="0" indent="0" algn="ctr">
              <a:buFontTx/>
              <a:buNone/>
              <a:defRPr sz="1100"/>
            </a:lvl1pPr>
          </a:lstStyle>
          <a:p>
            <a:r>
              <a:rPr lang="da-DK"/>
              <a:t>Ikon</a:t>
            </a:r>
          </a:p>
        </p:txBody>
      </p:sp>
      <p:sp>
        <p:nvSpPr>
          <p:cNvPr id="24" name="Text Placeholder 23">
            <a:extLst>
              <a:ext uri="{FF2B5EF4-FFF2-40B4-BE49-F238E27FC236}">
                <a16:creationId xmlns:a16="http://schemas.microsoft.com/office/drawing/2014/main" id="{E09FE5FD-CF33-C97B-C391-117A1C5208C4}"/>
              </a:ext>
            </a:extLst>
          </p:cNvPr>
          <p:cNvSpPr>
            <a:spLocks noGrp="1"/>
          </p:cNvSpPr>
          <p:nvPr>
            <p:ph type="body" sz="quarter" idx="25" hasCustomPrompt="1"/>
          </p:nvPr>
        </p:nvSpPr>
        <p:spPr>
          <a:xfrm>
            <a:off x="1374775" y="2671199"/>
            <a:ext cx="4168800" cy="694800"/>
          </a:xfrm>
        </p:spPr>
        <p:txBody>
          <a:bodyPr/>
          <a:lstStyle>
            <a:lvl2pPr marL="222250" indent="0">
              <a:buNone/>
              <a:defRPr/>
            </a:lvl2pPr>
          </a:lstStyle>
          <a:p>
            <a:pPr lvl="0"/>
            <a:r>
              <a:rPr lang="da-DK"/>
              <a:t>Tekst</a:t>
            </a:r>
          </a:p>
        </p:txBody>
      </p:sp>
      <p:sp>
        <p:nvSpPr>
          <p:cNvPr id="25" name="Text Placeholder 23">
            <a:extLst>
              <a:ext uri="{FF2B5EF4-FFF2-40B4-BE49-F238E27FC236}">
                <a16:creationId xmlns:a16="http://schemas.microsoft.com/office/drawing/2014/main" id="{BC38A6D9-FF8C-00CD-B4F8-846240AB6397}"/>
              </a:ext>
            </a:extLst>
          </p:cNvPr>
          <p:cNvSpPr>
            <a:spLocks noGrp="1"/>
          </p:cNvSpPr>
          <p:nvPr>
            <p:ph type="body" sz="quarter" idx="26" hasCustomPrompt="1"/>
          </p:nvPr>
        </p:nvSpPr>
        <p:spPr>
          <a:xfrm>
            <a:off x="1374775" y="3610782"/>
            <a:ext cx="4168800" cy="694800"/>
          </a:xfrm>
        </p:spPr>
        <p:txBody>
          <a:bodyPr/>
          <a:lstStyle>
            <a:lvl2pPr marL="222250" indent="0">
              <a:buNone/>
              <a:defRPr/>
            </a:lvl2pPr>
          </a:lstStyle>
          <a:p>
            <a:pPr lvl="0"/>
            <a:r>
              <a:rPr lang="da-DK"/>
              <a:t>Tekst</a:t>
            </a:r>
          </a:p>
        </p:txBody>
      </p:sp>
      <p:sp>
        <p:nvSpPr>
          <p:cNvPr id="27" name="Text Placeholder 23">
            <a:extLst>
              <a:ext uri="{FF2B5EF4-FFF2-40B4-BE49-F238E27FC236}">
                <a16:creationId xmlns:a16="http://schemas.microsoft.com/office/drawing/2014/main" id="{B2C65CD9-181F-D3EA-B2EC-85B62DDE928F}"/>
              </a:ext>
            </a:extLst>
          </p:cNvPr>
          <p:cNvSpPr>
            <a:spLocks noGrp="1"/>
          </p:cNvSpPr>
          <p:nvPr>
            <p:ph type="body" sz="quarter" idx="28" hasCustomPrompt="1"/>
          </p:nvPr>
        </p:nvSpPr>
        <p:spPr>
          <a:xfrm>
            <a:off x="7589589" y="4550364"/>
            <a:ext cx="4168800" cy="694800"/>
          </a:xfrm>
        </p:spPr>
        <p:txBody>
          <a:bodyPr/>
          <a:lstStyle>
            <a:lvl2pPr marL="222250" indent="0">
              <a:buNone/>
              <a:defRPr/>
            </a:lvl2pPr>
          </a:lstStyle>
          <a:p>
            <a:pPr lvl="0"/>
            <a:r>
              <a:rPr lang="da-DK"/>
              <a:t>Tekst</a:t>
            </a:r>
          </a:p>
        </p:txBody>
      </p:sp>
      <p:sp>
        <p:nvSpPr>
          <p:cNvPr id="28" name="Text Placeholder 23">
            <a:extLst>
              <a:ext uri="{FF2B5EF4-FFF2-40B4-BE49-F238E27FC236}">
                <a16:creationId xmlns:a16="http://schemas.microsoft.com/office/drawing/2014/main" id="{CA1C9E7D-EA67-C8BC-60DE-53A4ED798C60}"/>
              </a:ext>
            </a:extLst>
          </p:cNvPr>
          <p:cNvSpPr>
            <a:spLocks noGrp="1"/>
          </p:cNvSpPr>
          <p:nvPr>
            <p:ph type="body" sz="quarter" idx="29" hasCustomPrompt="1"/>
          </p:nvPr>
        </p:nvSpPr>
        <p:spPr>
          <a:xfrm>
            <a:off x="7589589" y="2671199"/>
            <a:ext cx="4168800" cy="694800"/>
          </a:xfrm>
        </p:spPr>
        <p:txBody>
          <a:bodyPr/>
          <a:lstStyle>
            <a:lvl2pPr marL="222250" indent="0">
              <a:buNone/>
              <a:defRPr/>
            </a:lvl2pPr>
          </a:lstStyle>
          <a:p>
            <a:pPr lvl="0"/>
            <a:r>
              <a:rPr lang="da-DK"/>
              <a:t>Tekst</a:t>
            </a:r>
          </a:p>
        </p:txBody>
      </p:sp>
      <p:sp>
        <p:nvSpPr>
          <p:cNvPr id="3" name="Title 1">
            <a:extLst>
              <a:ext uri="{FF2B5EF4-FFF2-40B4-BE49-F238E27FC236}">
                <a16:creationId xmlns:a16="http://schemas.microsoft.com/office/drawing/2014/main" id="{1D7F5347-C2BC-BA76-B654-AA69C970ADF0}"/>
              </a:ext>
            </a:extLst>
          </p:cNvPr>
          <p:cNvSpPr>
            <a:spLocks noGrp="1"/>
          </p:cNvSpPr>
          <p:nvPr>
            <p:ph type="title" hasCustomPrompt="1"/>
          </p:nvPr>
        </p:nvSpPr>
        <p:spPr>
          <a:xfrm>
            <a:off x="431799" y="431802"/>
            <a:ext cx="5664201" cy="966187"/>
          </a:xfrm>
        </p:spPr>
        <p:txBody>
          <a:bodyPr anchor="b"/>
          <a:lstStyle/>
          <a:p>
            <a:r>
              <a:rPr lang="da-DK"/>
              <a:t>Overskrift</a:t>
            </a:r>
            <a:br>
              <a:rPr lang="da-DK"/>
            </a:br>
            <a:r>
              <a:rPr lang="da-DK"/>
              <a:t>max 2 linjer</a:t>
            </a:r>
          </a:p>
        </p:txBody>
      </p:sp>
      <p:pic>
        <p:nvPicPr>
          <p:cNvPr id="7" name="Graphic 5">
            <a:extLst>
              <a:ext uri="{FF2B5EF4-FFF2-40B4-BE49-F238E27FC236}">
                <a16:creationId xmlns:a16="http://schemas.microsoft.com/office/drawing/2014/main" id="{3B58CD6D-D960-B740-8637-85B19EE0DD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2" name="Slide Number Placeholder 5">
            <a:extLst>
              <a:ext uri="{FF2B5EF4-FFF2-40B4-BE49-F238E27FC236}">
                <a16:creationId xmlns:a16="http://schemas.microsoft.com/office/drawing/2014/main" id="{7EE1B35D-48D1-675B-D651-103A684AC83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5" name="Pladsholder til tekst 6">
            <a:extLst>
              <a:ext uri="{FF2B5EF4-FFF2-40B4-BE49-F238E27FC236}">
                <a16:creationId xmlns:a16="http://schemas.microsoft.com/office/drawing/2014/main" id="{A6EDAD25-D08C-E75D-A150-7A8A8DA392AD}"/>
              </a:ext>
            </a:extLst>
          </p:cNvPr>
          <p:cNvSpPr>
            <a:spLocks noGrp="1"/>
          </p:cNvSpPr>
          <p:nvPr>
            <p:ph type="body" sz="quarter" idx="31" hasCustomPrompt="1"/>
          </p:nvPr>
        </p:nvSpPr>
        <p:spPr>
          <a:xfrm>
            <a:off x="431800" y="1440000"/>
            <a:ext cx="56642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Tree>
    <p:extLst>
      <p:ext uri="{BB962C8B-B14F-4D97-AF65-F5344CB8AC3E}">
        <p14:creationId xmlns:p14="http://schemas.microsoft.com/office/powerpoint/2010/main" val="322469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kst 2 Kolonner 2 Overskrif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800" y="1151999"/>
            <a:ext cx="5112000" cy="464514"/>
          </a:xfrm>
        </p:spPr>
        <p:txBody>
          <a:bodyPr>
            <a:noAutofit/>
          </a:bodyPr>
          <a:lstStyle>
            <a:lvl1pPr>
              <a:lnSpc>
                <a:spcPts val="2600"/>
              </a:lnSpc>
              <a:defRPr sz="2600"/>
            </a:lvl1pPr>
          </a:lstStyle>
          <a:p>
            <a:r>
              <a:rPr lang="da-DK"/>
              <a:t>Overskrift max 1 linje</a:t>
            </a:r>
          </a:p>
        </p:txBody>
      </p:sp>
      <p:sp>
        <p:nvSpPr>
          <p:cNvPr id="3" name="Content Placeholder 2">
            <a:extLst>
              <a:ext uri="{FF2B5EF4-FFF2-40B4-BE49-F238E27FC236}">
                <a16:creationId xmlns:a16="http://schemas.microsoft.com/office/drawing/2014/main" id="{30292139-16EA-82EE-29B6-B3F1ECEE0502}"/>
              </a:ext>
            </a:extLst>
          </p:cNvPr>
          <p:cNvSpPr>
            <a:spLocks noGrp="1"/>
          </p:cNvSpPr>
          <p:nvPr>
            <p:ph idx="1" hasCustomPrompt="1"/>
          </p:nvPr>
        </p:nvSpPr>
        <p:spPr>
          <a:xfrm>
            <a:off x="431800" y="2479242"/>
            <a:ext cx="5112000" cy="3226759"/>
          </a:xfrm>
        </p:spPr>
        <p:txBody>
          <a:bodyPr/>
          <a:lstStyle>
            <a:lvl1pPr marL="0" indent="0">
              <a:lnSpc>
                <a:spcPts val="2200"/>
              </a:lnSpc>
              <a:spcBef>
                <a:spcPts val="0"/>
              </a:spcBef>
              <a:buFontTx/>
              <a:buNone/>
              <a:defRPr/>
            </a:lvl1pPr>
            <a:lvl2pPr marL="215900" indent="0">
              <a:lnSpc>
                <a:spcPts val="2200"/>
              </a:lnSpc>
              <a:spcBef>
                <a:spcPts val="0"/>
              </a:spcBef>
              <a:buFontTx/>
              <a:buNone/>
              <a:tabLst/>
              <a:defRPr/>
            </a:lvl2pPr>
            <a:lvl3pPr marL="215900" indent="0">
              <a:lnSpc>
                <a:spcPts val="2200"/>
              </a:lnSpc>
              <a:spcBef>
                <a:spcPts val="0"/>
              </a:spcBef>
              <a:buFontTx/>
              <a:buNone/>
              <a:tabLst/>
              <a:defRPr/>
            </a:lvl3pPr>
            <a:lvl4pPr marL="215900" indent="0">
              <a:lnSpc>
                <a:spcPts val="2200"/>
              </a:lnSpc>
              <a:spcBef>
                <a:spcPts val="0"/>
              </a:spcBef>
              <a:buFontTx/>
              <a:buNone/>
              <a:tabLst/>
              <a:defRPr/>
            </a:lvl4pPr>
            <a:lvl5pPr marL="215900" indent="0">
              <a:lnSpc>
                <a:spcPts val="2200"/>
              </a:lnSpc>
              <a:spcBef>
                <a:spcPts val="0"/>
              </a:spcBef>
              <a:buFontTx/>
              <a:buNone/>
              <a:tabLst/>
              <a:defRPr/>
            </a:lvl5pPr>
          </a:lstStyle>
          <a:p>
            <a:pPr lvl="0"/>
            <a:r>
              <a:rPr lang="da-DK" err="1"/>
              <a:t>Multiplaceholder</a:t>
            </a:r>
            <a:endParaRPr lang="da-DK"/>
          </a:p>
        </p:txBody>
      </p:sp>
      <p:sp>
        <p:nvSpPr>
          <p:cNvPr id="11" name="Text Placeholder 10">
            <a:extLst>
              <a:ext uri="{FF2B5EF4-FFF2-40B4-BE49-F238E27FC236}">
                <a16:creationId xmlns:a16="http://schemas.microsoft.com/office/drawing/2014/main" id="{3D857A7E-D95E-6CB6-ECDF-95BCD19A173F}"/>
              </a:ext>
            </a:extLst>
          </p:cNvPr>
          <p:cNvSpPr>
            <a:spLocks noGrp="1"/>
          </p:cNvSpPr>
          <p:nvPr>
            <p:ph type="body" sz="quarter" idx="14" hasCustomPrompt="1"/>
          </p:nvPr>
        </p:nvSpPr>
        <p:spPr>
          <a:xfrm>
            <a:off x="431800" y="1616512"/>
            <a:ext cx="5111750" cy="464515"/>
          </a:xfrm>
        </p:spPr>
        <p:txBody>
          <a:bodyPr/>
          <a:lstStyle>
            <a:lvl1pPr marL="0" indent="0">
              <a:buFontTx/>
              <a:buNone/>
              <a:defRPr/>
            </a:lvl1pPr>
          </a:lstStyle>
          <a:p>
            <a:pPr lvl="0"/>
            <a:r>
              <a:rPr lang="da-DK"/>
              <a:t>Undertitel</a:t>
            </a:r>
          </a:p>
        </p:txBody>
      </p:sp>
      <p:sp>
        <p:nvSpPr>
          <p:cNvPr id="15" name="Text Placeholder 10">
            <a:extLst>
              <a:ext uri="{FF2B5EF4-FFF2-40B4-BE49-F238E27FC236}">
                <a16:creationId xmlns:a16="http://schemas.microsoft.com/office/drawing/2014/main" id="{C5A544C0-69C0-B5B4-16DB-05CF24FF6006}"/>
              </a:ext>
            </a:extLst>
          </p:cNvPr>
          <p:cNvSpPr>
            <a:spLocks noGrp="1"/>
          </p:cNvSpPr>
          <p:nvPr>
            <p:ph type="body" sz="quarter" idx="15" hasCustomPrompt="1"/>
          </p:nvPr>
        </p:nvSpPr>
        <p:spPr>
          <a:xfrm>
            <a:off x="6646613" y="1616512"/>
            <a:ext cx="5111750" cy="464515"/>
          </a:xfrm>
        </p:spPr>
        <p:txBody>
          <a:bodyPr/>
          <a:lstStyle>
            <a:lvl1pPr marL="0" indent="0">
              <a:buFontTx/>
              <a:buNone/>
              <a:defRPr/>
            </a:lvl1pPr>
          </a:lstStyle>
          <a:p>
            <a:pPr lvl="0"/>
            <a:r>
              <a:rPr lang="da-DK"/>
              <a:t>Undertitel</a:t>
            </a:r>
          </a:p>
        </p:txBody>
      </p:sp>
      <p:sp>
        <p:nvSpPr>
          <p:cNvPr id="9" name="Content Placeholder 2">
            <a:extLst>
              <a:ext uri="{FF2B5EF4-FFF2-40B4-BE49-F238E27FC236}">
                <a16:creationId xmlns:a16="http://schemas.microsoft.com/office/drawing/2014/main" id="{2DF5D072-4FC4-635F-B55D-43BF06384DC2}"/>
              </a:ext>
            </a:extLst>
          </p:cNvPr>
          <p:cNvSpPr>
            <a:spLocks noGrp="1"/>
          </p:cNvSpPr>
          <p:nvPr>
            <p:ph idx="16" hasCustomPrompt="1"/>
          </p:nvPr>
        </p:nvSpPr>
        <p:spPr>
          <a:xfrm>
            <a:off x="6646613" y="2479242"/>
            <a:ext cx="5112000" cy="3226759"/>
          </a:xfrm>
        </p:spPr>
        <p:txBody>
          <a:bodyPr/>
          <a:lstStyle>
            <a:lvl1pPr marL="0" indent="0">
              <a:lnSpc>
                <a:spcPts val="2200"/>
              </a:lnSpc>
              <a:spcBef>
                <a:spcPts val="0"/>
              </a:spcBef>
              <a:buFontTx/>
              <a:buNone/>
              <a:defRPr/>
            </a:lvl1pPr>
            <a:lvl2pPr marL="215900" indent="0">
              <a:lnSpc>
                <a:spcPts val="2200"/>
              </a:lnSpc>
              <a:spcBef>
                <a:spcPts val="0"/>
              </a:spcBef>
              <a:buFontTx/>
              <a:buNone/>
              <a:tabLst/>
              <a:defRPr/>
            </a:lvl2pPr>
            <a:lvl3pPr marL="215900" indent="0">
              <a:lnSpc>
                <a:spcPts val="2200"/>
              </a:lnSpc>
              <a:spcBef>
                <a:spcPts val="0"/>
              </a:spcBef>
              <a:buFontTx/>
              <a:buNone/>
              <a:tabLst/>
              <a:defRPr/>
            </a:lvl3pPr>
            <a:lvl4pPr marL="215900" indent="0">
              <a:lnSpc>
                <a:spcPts val="2200"/>
              </a:lnSpc>
              <a:spcBef>
                <a:spcPts val="0"/>
              </a:spcBef>
              <a:buFontTx/>
              <a:buNone/>
              <a:tabLst/>
              <a:defRPr/>
            </a:lvl4pPr>
            <a:lvl5pPr marL="215900" indent="0">
              <a:lnSpc>
                <a:spcPts val="2200"/>
              </a:lnSpc>
              <a:spcBef>
                <a:spcPts val="0"/>
              </a:spcBef>
              <a:buFontTx/>
              <a:buNone/>
              <a:tabLst/>
              <a:defRPr/>
            </a:lvl5pPr>
          </a:lstStyle>
          <a:p>
            <a:pPr lvl="0"/>
            <a:r>
              <a:rPr lang="da-DK" err="1"/>
              <a:t>Multiplaceholder</a:t>
            </a:r>
            <a:endParaRPr lang="da-DK"/>
          </a:p>
        </p:txBody>
      </p:sp>
      <p:pic>
        <p:nvPicPr>
          <p:cNvPr id="4" name="Graphic 5">
            <a:extLst>
              <a:ext uri="{FF2B5EF4-FFF2-40B4-BE49-F238E27FC236}">
                <a16:creationId xmlns:a16="http://schemas.microsoft.com/office/drawing/2014/main" id="{9897B744-BECB-691D-AFF3-E7B316DC74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5" name="Slide Number Placeholder 5">
            <a:extLst>
              <a:ext uri="{FF2B5EF4-FFF2-40B4-BE49-F238E27FC236}">
                <a16:creationId xmlns:a16="http://schemas.microsoft.com/office/drawing/2014/main" id="{DCF67D59-0E78-E4A4-4132-62E13BA6E3C4}"/>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12" name="Pladsholder til tekst 11">
            <a:extLst>
              <a:ext uri="{FF2B5EF4-FFF2-40B4-BE49-F238E27FC236}">
                <a16:creationId xmlns:a16="http://schemas.microsoft.com/office/drawing/2014/main" id="{3EF2DC35-A754-A6E0-086C-2C5253777EDD}"/>
              </a:ext>
            </a:extLst>
          </p:cNvPr>
          <p:cNvSpPr>
            <a:spLocks noGrp="1"/>
          </p:cNvSpPr>
          <p:nvPr>
            <p:ph type="body" sz="quarter" idx="17" hasCustomPrompt="1"/>
          </p:nvPr>
        </p:nvSpPr>
        <p:spPr>
          <a:xfrm>
            <a:off x="6646863" y="1152525"/>
            <a:ext cx="5111750" cy="463550"/>
          </a:xfrm>
        </p:spPr>
        <p:txBody>
          <a:bodyPr/>
          <a:lstStyle>
            <a:lvl1pPr marL="0" indent="0">
              <a:buNone/>
              <a:defRPr sz="2600">
                <a:latin typeface="+mj-lt"/>
              </a:defRPr>
            </a:lvl1pPr>
          </a:lstStyle>
          <a:p>
            <a:pPr lvl="0"/>
            <a:r>
              <a:rPr lang="da-DK">
                <a:latin typeface="+mj-lt"/>
              </a:rPr>
              <a:t>Overskrift max 1 linje</a:t>
            </a:r>
            <a:endParaRPr lang="da-DK"/>
          </a:p>
        </p:txBody>
      </p:sp>
    </p:spTree>
    <p:extLst>
      <p:ext uri="{BB962C8B-B14F-4D97-AF65-F5344CB8AC3E}">
        <p14:creationId xmlns:p14="http://schemas.microsoft.com/office/powerpoint/2010/main" val="474330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ekst 2 Kolonner tekst / 4 number gri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33FFB37-073B-7316-450C-DBB23F6FB0CC}"/>
              </a:ext>
            </a:extLst>
          </p:cNvPr>
          <p:cNvSpPr>
            <a:spLocks noGrp="1"/>
          </p:cNvSpPr>
          <p:nvPr>
            <p:ph type="sldNum" sz="quarter" idx="12"/>
          </p:nvPr>
        </p:nvSpPr>
        <p:spPr/>
        <p:txBody>
          <a:bodyPr/>
          <a:lstStyle/>
          <a:p>
            <a:fld id="{FA9C6259-F55B-47A6-AB0B-9E9F0835A2F0}" type="slidenum">
              <a:rPr lang="da-DK" smtClean="0"/>
              <a:t>‹#›</a:t>
            </a:fld>
            <a:endParaRPr lang="da-DK"/>
          </a:p>
        </p:txBody>
      </p:sp>
      <p:sp>
        <p:nvSpPr>
          <p:cNvPr id="13" name="Text Placeholder 7">
            <a:extLst>
              <a:ext uri="{FF2B5EF4-FFF2-40B4-BE49-F238E27FC236}">
                <a16:creationId xmlns:a16="http://schemas.microsoft.com/office/drawing/2014/main" id="{E6D469DE-64A8-023E-7FE0-1B8E721777EA}"/>
              </a:ext>
            </a:extLst>
          </p:cNvPr>
          <p:cNvSpPr>
            <a:spLocks noGrp="1"/>
          </p:cNvSpPr>
          <p:nvPr>
            <p:ph type="body" sz="quarter" idx="17" hasCustomPrompt="1"/>
          </p:nvPr>
        </p:nvSpPr>
        <p:spPr>
          <a:xfrm>
            <a:off x="431799" y="2159999"/>
            <a:ext cx="5111750" cy="3531673"/>
          </a:xfrm>
        </p:spPr>
        <p:txBody>
          <a:bodyPr/>
          <a:lstStyle>
            <a:lvl1pPr marL="0" indent="0">
              <a:buFontTx/>
              <a:buNone/>
              <a:defRPr/>
            </a:lvl1pPr>
          </a:lstStyle>
          <a:p>
            <a:pPr lvl="0"/>
            <a:r>
              <a:rPr lang="da-DK"/>
              <a:t>Tekst</a:t>
            </a:r>
          </a:p>
        </p:txBody>
      </p:sp>
      <p:sp>
        <p:nvSpPr>
          <p:cNvPr id="3" name="Title 1">
            <a:extLst>
              <a:ext uri="{FF2B5EF4-FFF2-40B4-BE49-F238E27FC236}">
                <a16:creationId xmlns:a16="http://schemas.microsoft.com/office/drawing/2014/main" id="{E357F614-E3AC-96A6-A61A-221A7FF12F0E}"/>
              </a:ext>
            </a:extLst>
          </p:cNvPr>
          <p:cNvSpPr>
            <a:spLocks noGrp="1"/>
          </p:cNvSpPr>
          <p:nvPr>
            <p:ph type="title" hasCustomPrompt="1"/>
          </p:nvPr>
        </p:nvSpPr>
        <p:spPr>
          <a:xfrm>
            <a:off x="431800" y="431802"/>
            <a:ext cx="5111750" cy="966187"/>
          </a:xfrm>
        </p:spPr>
        <p:txBody>
          <a:bodyPr anchor="b"/>
          <a:lstStyle/>
          <a:p>
            <a:r>
              <a:rPr lang="da-DK"/>
              <a:t>Overskrift</a:t>
            </a:r>
            <a:br>
              <a:rPr lang="da-DK"/>
            </a:br>
            <a:r>
              <a:rPr lang="da-DK"/>
              <a:t>max 2 linjer</a:t>
            </a:r>
          </a:p>
        </p:txBody>
      </p:sp>
      <p:sp>
        <p:nvSpPr>
          <p:cNvPr id="2" name="Slide Number Placeholder 5">
            <a:extLst>
              <a:ext uri="{FF2B5EF4-FFF2-40B4-BE49-F238E27FC236}">
                <a16:creationId xmlns:a16="http://schemas.microsoft.com/office/drawing/2014/main" id="{23AF7E99-DC84-6BA6-AA66-69365E6DCDAE}"/>
              </a:ext>
            </a:extLst>
          </p:cNvPr>
          <p:cNvSpPr txBox="1">
            <a:spLocks/>
          </p:cNvSpPr>
          <p:nvPr/>
        </p:nvSpPr>
        <p:spPr>
          <a:xfrm>
            <a:off x="10810837" y="6064613"/>
            <a:ext cx="942976" cy="360000"/>
          </a:xfrm>
          <a:prstGeom prst="rect">
            <a:avLst/>
          </a:prstGeom>
        </p:spPr>
        <p:txBody>
          <a:bodyPr vert="horz" lIns="0" tIns="0" rIns="0" bIns="0" rtlCol="0" anchor="b" anchorCtr="0"/>
          <a:lstStyle>
            <a:defPPr>
              <a:defRPr lang="en-US"/>
            </a:defPPr>
            <a:lvl1pPr marL="0" algn="r" defTabSz="914400" rtl="0" eaLnBrk="1" latinLnBrk="0" hangingPunct="1">
              <a:defRPr sz="800" b="0" i="0" kern="1200">
                <a:solidFill>
                  <a:schemeClr val="tx1"/>
                </a:solidFill>
                <a:latin typeface="Eifon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a:solidFill>
                  <a:schemeClr val="bg1"/>
                </a:solidFill>
              </a:rPr>
              <a:t>S. </a:t>
            </a:r>
            <a:fld id="{E68BB47B-6AA6-7343-BE79-ECEFD83B2C88}" type="slidenum">
              <a:rPr lang="da-DK" smtClean="0">
                <a:solidFill>
                  <a:schemeClr val="bg1"/>
                </a:solidFill>
              </a:rPr>
              <a:pPr/>
              <a:t>‹#›</a:t>
            </a:fld>
            <a:endParaRPr lang="da-DK">
              <a:solidFill>
                <a:schemeClr val="bg1"/>
              </a:solidFill>
            </a:endParaRPr>
          </a:p>
        </p:txBody>
      </p:sp>
      <p:sp>
        <p:nvSpPr>
          <p:cNvPr id="5" name="Pladsholder til tekst 6">
            <a:extLst>
              <a:ext uri="{FF2B5EF4-FFF2-40B4-BE49-F238E27FC236}">
                <a16:creationId xmlns:a16="http://schemas.microsoft.com/office/drawing/2014/main" id="{2AC6E3B0-D659-6903-2ACA-A50090343DDA}"/>
              </a:ext>
            </a:extLst>
          </p:cNvPr>
          <p:cNvSpPr>
            <a:spLocks noGrp="1"/>
          </p:cNvSpPr>
          <p:nvPr>
            <p:ph type="body" sz="quarter" idx="18" hasCustomPrompt="1"/>
          </p:nvPr>
        </p:nvSpPr>
        <p:spPr>
          <a:xfrm>
            <a:off x="431800" y="1440000"/>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4" name="Rektangel 3">
            <a:extLst>
              <a:ext uri="{FF2B5EF4-FFF2-40B4-BE49-F238E27FC236}">
                <a16:creationId xmlns:a16="http://schemas.microsoft.com/office/drawing/2014/main" id="{C42EF9C1-A859-529E-4547-A9C349244C8D}"/>
              </a:ext>
            </a:extLst>
          </p:cNvPr>
          <p:cNvSpPr/>
          <p:nvPr/>
        </p:nvSpPr>
        <p:spPr>
          <a:xfrm>
            <a:off x="9142674" y="0"/>
            <a:ext cx="3049200" cy="343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 Placeholder 7">
            <a:extLst>
              <a:ext uri="{FF2B5EF4-FFF2-40B4-BE49-F238E27FC236}">
                <a16:creationId xmlns:a16="http://schemas.microsoft.com/office/drawing/2014/main" id="{0599BC2E-0D4D-F7F1-AC76-700DBECB33D7}"/>
              </a:ext>
            </a:extLst>
          </p:cNvPr>
          <p:cNvSpPr>
            <a:spLocks noGrp="1"/>
          </p:cNvSpPr>
          <p:nvPr>
            <p:ph type="body" sz="quarter" idx="21" hasCustomPrompt="1"/>
          </p:nvPr>
        </p:nvSpPr>
        <p:spPr>
          <a:xfrm>
            <a:off x="9322940" y="2088643"/>
            <a:ext cx="2688668" cy="1052441"/>
          </a:xfrm>
        </p:spPr>
        <p:txBody>
          <a:bodyPr/>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8" name="Pladsholder til tekst 8">
            <a:extLst>
              <a:ext uri="{FF2B5EF4-FFF2-40B4-BE49-F238E27FC236}">
                <a16:creationId xmlns:a16="http://schemas.microsoft.com/office/drawing/2014/main" id="{E11521DC-A973-34B6-14C4-291A6B557258}"/>
              </a:ext>
            </a:extLst>
          </p:cNvPr>
          <p:cNvSpPr>
            <a:spLocks noGrp="1"/>
          </p:cNvSpPr>
          <p:nvPr>
            <p:ph type="body" sz="quarter" idx="22" hasCustomPrompt="1"/>
          </p:nvPr>
        </p:nvSpPr>
        <p:spPr>
          <a:xfrm>
            <a:off x="9322941" y="1058138"/>
            <a:ext cx="2688667" cy="1002283"/>
          </a:xfrm>
        </p:spPr>
        <p:txBody>
          <a:bodyPr anchor="b"/>
          <a:lstStyle>
            <a:lvl1pPr marL="0" indent="0" algn="ctr">
              <a:buNone/>
              <a:defRPr sz="6000">
                <a:latin typeface="+mj-lt"/>
              </a:defRPr>
            </a:lvl1pPr>
          </a:lstStyle>
          <a:p>
            <a:pPr lvl="0"/>
            <a:r>
              <a:rPr lang="da-DK"/>
              <a:t>XX</a:t>
            </a:r>
          </a:p>
        </p:txBody>
      </p:sp>
      <p:sp>
        <p:nvSpPr>
          <p:cNvPr id="16" name="Text Placeholder 7">
            <a:extLst>
              <a:ext uri="{FF2B5EF4-FFF2-40B4-BE49-F238E27FC236}">
                <a16:creationId xmlns:a16="http://schemas.microsoft.com/office/drawing/2014/main" id="{C4EC31AB-FB97-23A4-67FA-DE7CF7816CE9}"/>
              </a:ext>
            </a:extLst>
          </p:cNvPr>
          <p:cNvSpPr>
            <a:spLocks noGrp="1"/>
          </p:cNvSpPr>
          <p:nvPr>
            <p:ph type="body" sz="quarter" idx="23" hasCustomPrompt="1"/>
          </p:nvPr>
        </p:nvSpPr>
        <p:spPr>
          <a:xfrm>
            <a:off x="9322940" y="5697"/>
            <a:ext cx="2688668" cy="1052441"/>
          </a:xfrm>
        </p:spPr>
        <p:txBody>
          <a:bodyPr anchor="b"/>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18" name="Rektangel 17">
            <a:extLst>
              <a:ext uri="{FF2B5EF4-FFF2-40B4-BE49-F238E27FC236}">
                <a16:creationId xmlns:a16="http://schemas.microsoft.com/office/drawing/2014/main" id="{1BC8AE65-A9EE-DA95-65D1-0732FDD1EED9}"/>
              </a:ext>
            </a:extLst>
          </p:cNvPr>
          <p:cNvSpPr/>
          <p:nvPr/>
        </p:nvSpPr>
        <p:spPr>
          <a:xfrm>
            <a:off x="6093223" y="0"/>
            <a:ext cx="3049200" cy="343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xt Placeholder 7">
            <a:extLst>
              <a:ext uri="{FF2B5EF4-FFF2-40B4-BE49-F238E27FC236}">
                <a16:creationId xmlns:a16="http://schemas.microsoft.com/office/drawing/2014/main" id="{2984BA6F-64F6-C42F-5F6D-02A5FF7C96C9}"/>
              </a:ext>
            </a:extLst>
          </p:cNvPr>
          <p:cNvSpPr>
            <a:spLocks noGrp="1"/>
          </p:cNvSpPr>
          <p:nvPr>
            <p:ph type="body" sz="quarter" idx="24" hasCustomPrompt="1"/>
          </p:nvPr>
        </p:nvSpPr>
        <p:spPr>
          <a:xfrm>
            <a:off x="6273489" y="2088643"/>
            <a:ext cx="2688668" cy="1052441"/>
          </a:xfrm>
        </p:spPr>
        <p:txBody>
          <a:bodyPr/>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0" name="Pladsholder til tekst 8">
            <a:extLst>
              <a:ext uri="{FF2B5EF4-FFF2-40B4-BE49-F238E27FC236}">
                <a16:creationId xmlns:a16="http://schemas.microsoft.com/office/drawing/2014/main" id="{9CBC1C7D-3B5C-16E2-DB55-CF557654F165}"/>
              </a:ext>
            </a:extLst>
          </p:cNvPr>
          <p:cNvSpPr>
            <a:spLocks noGrp="1"/>
          </p:cNvSpPr>
          <p:nvPr>
            <p:ph type="body" sz="quarter" idx="25" hasCustomPrompt="1"/>
          </p:nvPr>
        </p:nvSpPr>
        <p:spPr>
          <a:xfrm>
            <a:off x="6273490" y="1058138"/>
            <a:ext cx="2688667" cy="1002283"/>
          </a:xfrm>
        </p:spPr>
        <p:txBody>
          <a:bodyPr anchor="b"/>
          <a:lstStyle>
            <a:lvl1pPr marL="0" indent="0" algn="ctr">
              <a:buNone/>
              <a:defRPr sz="6000">
                <a:latin typeface="+mj-lt"/>
              </a:defRPr>
            </a:lvl1pPr>
          </a:lstStyle>
          <a:p>
            <a:pPr lvl="0"/>
            <a:r>
              <a:rPr lang="da-DK"/>
              <a:t>XX</a:t>
            </a:r>
          </a:p>
        </p:txBody>
      </p:sp>
      <p:sp>
        <p:nvSpPr>
          <p:cNvPr id="21" name="Text Placeholder 7">
            <a:extLst>
              <a:ext uri="{FF2B5EF4-FFF2-40B4-BE49-F238E27FC236}">
                <a16:creationId xmlns:a16="http://schemas.microsoft.com/office/drawing/2014/main" id="{91EEAFB8-3C7A-832B-C209-5A658DCB518C}"/>
              </a:ext>
            </a:extLst>
          </p:cNvPr>
          <p:cNvSpPr>
            <a:spLocks noGrp="1"/>
          </p:cNvSpPr>
          <p:nvPr>
            <p:ph type="body" sz="quarter" idx="26" hasCustomPrompt="1"/>
          </p:nvPr>
        </p:nvSpPr>
        <p:spPr>
          <a:xfrm>
            <a:off x="6273489" y="5697"/>
            <a:ext cx="2688668" cy="1052441"/>
          </a:xfrm>
        </p:spPr>
        <p:txBody>
          <a:bodyPr anchor="b"/>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2" name="Rektangel 21">
            <a:extLst>
              <a:ext uri="{FF2B5EF4-FFF2-40B4-BE49-F238E27FC236}">
                <a16:creationId xmlns:a16="http://schemas.microsoft.com/office/drawing/2014/main" id="{A4C9EBE4-8EFE-333E-2E22-B895A7D50447}"/>
              </a:ext>
            </a:extLst>
          </p:cNvPr>
          <p:cNvSpPr/>
          <p:nvPr/>
        </p:nvSpPr>
        <p:spPr>
          <a:xfrm>
            <a:off x="9142674" y="3421503"/>
            <a:ext cx="3049200" cy="3430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Text Placeholder 7">
            <a:extLst>
              <a:ext uri="{FF2B5EF4-FFF2-40B4-BE49-F238E27FC236}">
                <a16:creationId xmlns:a16="http://schemas.microsoft.com/office/drawing/2014/main" id="{79F17B2C-BBA2-79E4-341D-A41178FB8CF4}"/>
              </a:ext>
            </a:extLst>
          </p:cNvPr>
          <p:cNvSpPr>
            <a:spLocks noGrp="1"/>
          </p:cNvSpPr>
          <p:nvPr>
            <p:ph type="body" sz="quarter" idx="27" hasCustomPrompt="1"/>
          </p:nvPr>
        </p:nvSpPr>
        <p:spPr>
          <a:xfrm>
            <a:off x="9322940" y="5510146"/>
            <a:ext cx="2688668" cy="1052441"/>
          </a:xfrm>
        </p:spPr>
        <p:txBody>
          <a:bodyPr/>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4" name="Pladsholder til tekst 8">
            <a:extLst>
              <a:ext uri="{FF2B5EF4-FFF2-40B4-BE49-F238E27FC236}">
                <a16:creationId xmlns:a16="http://schemas.microsoft.com/office/drawing/2014/main" id="{820120E0-5FA5-1258-67D1-8B59696835F1}"/>
              </a:ext>
            </a:extLst>
          </p:cNvPr>
          <p:cNvSpPr>
            <a:spLocks noGrp="1"/>
          </p:cNvSpPr>
          <p:nvPr>
            <p:ph type="body" sz="quarter" idx="28" hasCustomPrompt="1"/>
          </p:nvPr>
        </p:nvSpPr>
        <p:spPr>
          <a:xfrm>
            <a:off x="9322941" y="4479641"/>
            <a:ext cx="2688667" cy="1002283"/>
          </a:xfrm>
        </p:spPr>
        <p:txBody>
          <a:bodyPr anchor="b"/>
          <a:lstStyle>
            <a:lvl1pPr marL="0" indent="0" algn="ctr">
              <a:buNone/>
              <a:defRPr sz="6000">
                <a:solidFill>
                  <a:schemeClr val="bg1"/>
                </a:solidFill>
                <a:latin typeface="+mj-lt"/>
              </a:defRPr>
            </a:lvl1pPr>
          </a:lstStyle>
          <a:p>
            <a:pPr lvl="0"/>
            <a:r>
              <a:rPr lang="da-DK"/>
              <a:t>XX</a:t>
            </a:r>
          </a:p>
        </p:txBody>
      </p:sp>
      <p:sp>
        <p:nvSpPr>
          <p:cNvPr id="25" name="Text Placeholder 7">
            <a:extLst>
              <a:ext uri="{FF2B5EF4-FFF2-40B4-BE49-F238E27FC236}">
                <a16:creationId xmlns:a16="http://schemas.microsoft.com/office/drawing/2014/main" id="{CC8708C9-DB7F-7A22-789C-D386044F9659}"/>
              </a:ext>
            </a:extLst>
          </p:cNvPr>
          <p:cNvSpPr>
            <a:spLocks noGrp="1"/>
          </p:cNvSpPr>
          <p:nvPr>
            <p:ph type="body" sz="quarter" idx="29" hasCustomPrompt="1"/>
          </p:nvPr>
        </p:nvSpPr>
        <p:spPr>
          <a:xfrm>
            <a:off x="9322940" y="3427200"/>
            <a:ext cx="2688668" cy="1052441"/>
          </a:xfrm>
        </p:spPr>
        <p:txBody>
          <a:bodyPr anchor="b"/>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6" name="Rektangel 25">
            <a:extLst>
              <a:ext uri="{FF2B5EF4-FFF2-40B4-BE49-F238E27FC236}">
                <a16:creationId xmlns:a16="http://schemas.microsoft.com/office/drawing/2014/main" id="{E413C5A4-0E67-CBDD-7632-FFC24193A2B3}"/>
              </a:ext>
            </a:extLst>
          </p:cNvPr>
          <p:cNvSpPr/>
          <p:nvPr/>
        </p:nvSpPr>
        <p:spPr>
          <a:xfrm>
            <a:off x="6093223" y="3421503"/>
            <a:ext cx="3049200" cy="343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Text Placeholder 7">
            <a:extLst>
              <a:ext uri="{FF2B5EF4-FFF2-40B4-BE49-F238E27FC236}">
                <a16:creationId xmlns:a16="http://schemas.microsoft.com/office/drawing/2014/main" id="{0EC167B3-FBA3-B73A-4271-DF02F8255959}"/>
              </a:ext>
            </a:extLst>
          </p:cNvPr>
          <p:cNvSpPr>
            <a:spLocks noGrp="1"/>
          </p:cNvSpPr>
          <p:nvPr>
            <p:ph type="body" sz="quarter" idx="30" hasCustomPrompt="1"/>
          </p:nvPr>
        </p:nvSpPr>
        <p:spPr>
          <a:xfrm>
            <a:off x="6273489" y="5510146"/>
            <a:ext cx="2688668" cy="1052441"/>
          </a:xfrm>
        </p:spPr>
        <p:txBody>
          <a:bodyPr/>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8" name="Pladsholder til tekst 8">
            <a:extLst>
              <a:ext uri="{FF2B5EF4-FFF2-40B4-BE49-F238E27FC236}">
                <a16:creationId xmlns:a16="http://schemas.microsoft.com/office/drawing/2014/main" id="{E53FA8F2-AEC7-719A-EE1B-B6B4B5712034}"/>
              </a:ext>
            </a:extLst>
          </p:cNvPr>
          <p:cNvSpPr>
            <a:spLocks noGrp="1"/>
          </p:cNvSpPr>
          <p:nvPr>
            <p:ph type="body" sz="quarter" idx="31" hasCustomPrompt="1"/>
          </p:nvPr>
        </p:nvSpPr>
        <p:spPr>
          <a:xfrm>
            <a:off x="6273490" y="4479641"/>
            <a:ext cx="2688667" cy="1002283"/>
          </a:xfrm>
        </p:spPr>
        <p:txBody>
          <a:bodyPr anchor="b"/>
          <a:lstStyle>
            <a:lvl1pPr marL="0" indent="0" algn="ctr">
              <a:buNone/>
              <a:defRPr sz="6000">
                <a:solidFill>
                  <a:schemeClr val="bg1"/>
                </a:solidFill>
                <a:latin typeface="+mj-lt"/>
              </a:defRPr>
            </a:lvl1pPr>
          </a:lstStyle>
          <a:p>
            <a:pPr lvl="0"/>
            <a:r>
              <a:rPr lang="da-DK"/>
              <a:t>XX</a:t>
            </a:r>
          </a:p>
        </p:txBody>
      </p:sp>
      <p:sp>
        <p:nvSpPr>
          <p:cNvPr id="29" name="Text Placeholder 7">
            <a:extLst>
              <a:ext uri="{FF2B5EF4-FFF2-40B4-BE49-F238E27FC236}">
                <a16:creationId xmlns:a16="http://schemas.microsoft.com/office/drawing/2014/main" id="{33FC761C-702A-5F99-2C0E-0688ACAC245D}"/>
              </a:ext>
            </a:extLst>
          </p:cNvPr>
          <p:cNvSpPr>
            <a:spLocks noGrp="1"/>
          </p:cNvSpPr>
          <p:nvPr>
            <p:ph type="body" sz="quarter" idx="32" hasCustomPrompt="1"/>
          </p:nvPr>
        </p:nvSpPr>
        <p:spPr>
          <a:xfrm>
            <a:off x="6273489" y="3427200"/>
            <a:ext cx="2688668" cy="1052441"/>
          </a:xfrm>
        </p:spPr>
        <p:txBody>
          <a:bodyPr anchor="b"/>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Tree>
    <p:extLst>
      <p:ext uri="{BB962C8B-B14F-4D97-AF65-F5344CB8AC3E}">
        <p14:creationId xmlns:p14="http://schemas.microsoft.com/office/powerpoint/2010/main" val="42235062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øgletal ">
    <p:bg>
      <p:bgPr>
        <a:solidFill>
          <a:schemeClr val="accent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818D63-1275-AB15-2EDA-52327E2643F9}"/>
              </a:ext>
            </a:extLst>
          </p:cNvPr>
          <p:cNvSpPr>
            <a:spLocks noGrp="1"/>
          </p:cNvSpPr>
          <p:nvPr>
            <p:ph type="body" sz="quarter" idx="13" hasCustomPrompt="1"/>
          </p:nvPr>
        </p:nvSpPr>
        <p:spPr>
          <a:xfrm>
            <a:off x="43180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pic>
        <p:nvPicPr>
          <p:cNvPr id="3" name="Graphic 5">
            <a:extLst>
              <a:ext uri="{FF2B5EF4-FFF2-40B4-BE49-F238E27FC236}">
                <a16:creationId xmlns:a16="http://schemas.microsoft.com/office/drawing/2014/main" id="{B13606F4-D625-B290-9AAE-4696309EDE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7" name="Pladsholder til tekst 6">
            <a:extLst>
              <a:ext uri="{FF2B5EF4-FFF2-40B4-BE49-F238E27FC236}">
                <a16:creationId xmlns:a16="http://schemas.microsoft.com/office/drawing/2014/main" id="{B4E932FC-23D2-1B53-CEA2-2AE59AE38DDF}"/>
              </a:ext>
            </a:extLst>
          </p:cNvPr>
          <p:cNvSpPr>
            <a:spLocks noGrp="1"/>
          </p:cNvSpPr>
          <p:nvPr>
            <p:ph type="body" sz="quarter" idx="19" hasCustomPrompt="1"/>
          </p:nvPr>
        </p:nvSpPr>
        <p:spPr>
          <a:xfrm>
            <a:off x="431800" y="1440000"/>
            <a:ext cx="56642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5" name="Slide Number Placeholder 5">
            <a:extLst>
              <a:ext uri="{FF2B5EF4-FFF2-40B4-BE49-F238E27FC236}">
                <a16:creationId xmlns:a16="http://schemas.microsoft.com/office/drawing/2014/main" id="{9DBBCE32-7332-E7AB-98E1-F227FA9B539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9" name="Pladsholder til tekst 8">
            <a:extLst>
              <a:ext uri="{FF2B5EF4-FFF2-40B4-BE49-F238E27FC236}">
                <a16:creationId xmlns:a16="http://schemas.microsoft.com/office/drawing/2014/main" id="{D15C6651-C8FB-1708-E8A8-84DA9C21C476}"/>
              </a:ext>
            </a:extLst>
          </p:cNvPr>
          <p:cNvSpPr>
            <a:spLocks noGrp="1"/>
          </p:cNvSpPr>
          <p:nvPr>
            <p:ph type="body" sz="quarter" idx="20" hasCustomPrompt="1"/>
          </p:nvPr>
        </p:nvSpPr>
        <p:spPr>
          <a:xfrm>
            <a:off x="431800" y="1925775"/>
            <a:ext cx="2832099" cy="1002283"/>
          </a:xfrm>
        </p:spPr>
        <p:txBody>
          <a:bodyPr anchor="b"/>
          <a:lstStyle>
            <a:lvl1pPr marL="0" indent="0">
              <a:buNone/>
              <a:defRPr sz="6000">
                <a:latin typeface="+mj-lt"/>
              </a:defRPr>
            </a:lvl1pPr>
          </a:lstStyle>
          <a:p>
            <a:pPr lvl="0"/>
            <a:r>
              <a:rPr lang="da-DK"/>
              <a:t>XX</a:t>
            </a:r>
          </a:p>
        </p:txBody>
      </p:sp>
      <p:sp>
        <p:nvSpPr>
          <p:cNvPr id="10" name="Title 1">
            <a:extLst>
              <a:ext uri="{FF2B5EF4-FFF2-40B4-BE49-F238E27FC236}">
                <a16:creationId xmlns:a16="http://schemas.microsoft.com/office/drawing/2014/main" id="{1C4660C4-D770-12F5-F879-663148C9B149}"/>
              </a:ext>
            </a:extLst>
          </p:cNvPr>
          <p:cNvSpPr>
            <a:spLocks noGrp="1"/>
          </p:cNvSpPr>
          <p:nvPr>
            <p:ph type="title" hasCustomPrompt="1"/>
          </p:nvPr>
        </p:nvSpPr>
        <p:spPr>
          <a:xfrm>
            <a:off x="431800" y="431802"/>
            <a:ext cx="5664200" cy="966187"/>
          </a:xfrm>
        </p:spPr>
        <p:txBody>
          <a:bodyPr anchor="b"/>
          <a:lstStyle/>
          <a:p>
            <a:r>
              <a:rPr lang="da-DK"/>
              <a:t>Overskrift</a:t>
            </a:r>
            <a:br>
              <a:rPr lang="da-DK"/>
            </a:br>
            <a:r>
              <a:rPr lang="da-DK"/>
              <a:t>max 2 linjer</a:t>
            </a:r>
          </a:p>
        </p:txBody>
      </p:sp>
      <p:sp>
        <p:nvSpPr>
          <p:cNvPr id="13" name="Text Placeholder 7">
            <a:extLst>
              <a:ext uri="{FF2B5EF4-FFF2-40B4-BE49-F238E27FC236}">
                <a16:creationId xmlns:a16="http://schemas.microsoft.com/office/drawing/2014/main" id="{635DB809-1613-1F0C-742B-51ADEB2C1D3C}"/>
              </a:ext>
            </a:extLst>
          </p:cNvPr>
          <p:cNvSpPr>
            <a:spLocks noGrp="1"/>
          </p:cNvSpPr>
          <p:nvPr>
            <p:ph type="body" sz="quarter" idx="21" hasCustomPrompt="1"/>
          </p:nvPr>
        </p:nvSpPr>
        <p:spPr>
          <a:xfrm>
            <a:off x="4206875"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14" name="Pladsholder til tekst 8">
            <a:extLst>
              <a:ext uri="{FF2B5EF4-FFF2-40B4-BE49-F238E27FC236}">
                <a16:creationId xmlns:a16="http://schemas.microsoft.com/office/drawing/2014/main" id="{7D659B1C-27C9-10BB-8B95-8CC192CFCAFD}"/>
              </a:ext>
            </a:extLst>
          </p:cNvPr>
          <p:cNvSpPr>
            <a:spLocks noGrp="1"/>
          </p:cNvSpPr>
          <p:nvPr>
            <p:ph type="body" sz="quarter" idx="22" hasCustomPrompt="1"/>
          </p:nvPr>
        </p:nvSpPr>
        <p:spPr>
          <a:xfrm>
            <a:off x="4206875" y="1925775"/>
            <a:ext cx="2832099" cy="1002283"/>
          </a:xfrm>
        </p:spPr>
        <p:txBody>
          <a:bodyPr anchor="b"/>
          <a:lstStyle>
            <a:lvl1pPr marL="0" indent="0">
              <a:buNone/>
              <a:defRPr sz="6000">
                <a:latin typeface="+mj-lt"/>
              </a:defRPr>
            </a:lvl1pPr>
          </a:lstStyle>
          <a:p>
            <a:pPr lvl="0"/>
            <a:r>
              <a:rPr lang="da-DK"/>
              <a:t>XX</a:t>
            </a:r>
          </a:p>
        </p:txBody>
      </p:sp>
      <p:sp>
        <p:nvSpPr>
          <p:cNvPr id="25" name="Text Placeholder 7">
            <a:extLst>
              <a:ext uri="{FF2B5EF4-FFF2-40B4-BE49-F238E27FC236}">
                <a16:creationId xmlns:a16="http://schemas.microsoft.com/office/drawing/2014/main" id="{E2FE5068-6DDC-B945-0CD0-F155FA45D835}"/>
              </a:ext>
            </a:extLst>
          </p:cNvPr>
          <p:cNvSpPr>
            <a:spLocks noGrp="1"/>
          </p:cNvSpPr>
          <p:nvPr>
            <p:ph type="body" sz="quarter" idx="23" hasCustomPrompt="1"/>
          </p:nvPr>
        </p:nvSpPr>
        <p:spPr>
          <a:xfrm>
            <a:off x="798195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6" name="Pladsholder til tekst 8">
            <a:extLst>
              <a:ext uri="{FF2B5EF4-FFF2-40B4-BE49-F238E27FC236}">
                <a16:creationId xmlns:a16="http://schemas.microsoft.com/office/drawing/2014/main" id="{C471DAC7-59AF-6F39-CB54-61CB64E0A6C2}"/>
              </a:ext>
            </a:extLst>
          </p:cNvPr>
          <p:cNvSpPr>
            <a:spLocks noGrp="1"/>
          </p:cNvSpPr>
          <p:nvPr>
            <p:ph type="body" sz="quarter" idx="24" hasCustomPrompt="1"/>
          </p:nvPr>
        </p:nvSpPr>
        <p:spPr>
          <a:xfrm>
            <a:off x="7981950" y="1925775"/>
            <a:ext cx="2832099" cy="1002283"/>
          </a:xfrm>
        </p:spPr>
        <p:txBody>
          <a:bodyPr anchor="b"/>
          <a:lstStyle>
            <a:lvl1pPr marL="0" indent="0">
              <a:buNone/>
              <a:defRPr sz="6000">
                <a:latin typeface="+mj-lt"/>
              </a:defRPr>
            </a:lvl1pPr>
          </a:lstStyle>
          <a:p>
            <a:pPr lvl="0"/>
            <a:r>
              <a:rPr lang="da-DK"/>
              <a:t>XX</a:t>
            </a:r>
          </a:p>
        </p:txBody>
      </p:sp>
      <p:sp>
        <p:nvSpPr>
          <p:cNvPr id="27" name="Text Placeholder 7">
            <a:extLst>
              <a:ext uri="{FF2B5EF4-FFF2-40B4-BE49-F238E27FC236}">
                <a16:creationId xmlns:a16="http://schemas.microsoft.com/office/drawing/2014/main" id="{97F247A6-7DED-E505-B869-AC92A8A74831}"/>
              </a:ext>
            </a:extLst>
          </p:cNvPr>
          <p:cNvSpPr>
            <a:spLocks noGrp="1"/>
          </p:cNvSpPr>
          <p:nvPr>
            <p:ph type="body" sz="quarter" idx="25" hasCustomPrompt="1"/>
          </p:nvPr>
        </p:nvSpPr>
        <p:spPr>
          <a:xfrm>
            <a:off x="43180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8" name="Pladsholder til tekst 8">
            <a:extLst>
              <a:ext uri="{FF2B5EF4-FFF2-40B4-BE49-F238E27FC236}">
                <a16:creationId xmlns:a16="http://schemas.microsoft.com/office/drawing/2014/main" id="{9425C97C-A484-142E-136E-674675ADDCF9}"/>
              </a:ext>
            </a:extLst>
          </p:cNvPr>
          <p:cNvSpPr>
            <a:spLocks noGrp="1"/>
          </p:cNvSpPr>
          <p:nvPr>
            <p:ph type="body" sz="quarter" idx="26" hasCustomPrompt="1"/>
          </p:nvPr>
        </p:nvSpPr>
        <p:spPr>
          <a:xfrm>
            <a:off x="431800" y="4288831"/>
            <a:ext cx="2832099" cy="1002283"/>
          </a:xfrm>
        </p:spPr>
        <p:txBody>
          <a:bodyPr anchor="b"/>
          <a:lstStyle>
            <a:lvl1pPr marL="0" indent="0">
              <a:buNone/>
              <a:defRPr sz="6000">
                <a:latin typeface="+mj-lt"/>
              </a:defRPr>
            </a:lvl1pPr>
          </a:lstStyle>
          <a:p>
            <a:pPr lvl="0"/>
            <a:r>
              <a:rPr lang="da-DK"/>
              <a:t>XX</a:t>
            </a:r>
          </a:p>
        </p:txBody>
      </p:sp>
      <p:sp>
        <p:nvSpPr>
          <p:cNvPr id="29" name="Text Placeholder 7">
            <a:extLst>
              <a:ext uri="{FF2B5EF4-FFF2-40B4-BE49-F238E27FC236}">
                <a16:creationId xmlns:a16="http://schemas.microsoft.com/office/drawing/2014/main" id="{CAA65BD1-7CC7-879D-8731-AC4389F1FEDC}"/>
              </a:ext>
            </a:extLst>
          </p:cNvPr>
          <p:cNvSpPr>
            <a:spLocks noGrp="1"/>
          </p:cNvSpPr>
          <p:nvPr>
            <p:ph type="body" sz="quarter" idx="27" hasCustomPrompt="1"/>
          </p:nvPr>
        </p:nvSpPr>
        <p:spPr>
          <a:xfrm>
            <a:off x="4206875"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30" name="Pladsholder til tekst 8">
            <a:extLst>
              <a:ext uri="{FF2B5EF4-FFF2-40B4-BE49-F238E27FC236}">
                <a16:creationId xmlns:a16="http://schemas.microsoft.com/office/drawing/2014/main" id="{33543054-A243-5685-7358-3E878893F57F}"/>
              </a:ext>
            </a:extLst>
          </p:cNvPr>
          <p:cNvSpPr>
            <a:spLocks noGrp="1"/>
          </p:cNvSpPr>
          <p:nvPr>
            <p:ph type="body" sz="quarter" idx="28" hasCustomPrompt="1"/>
          </p:nvPr>
        </p:nvSpPr>
        <p:spPr>
          <a:xfrm>
            <a:off x="4206875" y="4288831"/>
            <a:ext cx="2832099" cy="1002283"/>
          </a:xfrm>
        </p:spPr>
        <p:txBody>
          <a:bodyPr anchor="b"/>
          <a:lstStyle>
            <a:lvl1pPr marL="0" indent="0">
              <a:buNone/>
              <a:defRPr sz="6000">
                <a:latin typeface="+mj-lt"/>
              </a:defRPr>
            </a:lvl1pPr>
          </a:lstStyle>
          <a:p>
            <a:pPr lvl="0"/>
            <a:r>
              <a:rPr lang="da-DK"/>
              <a:t>XX</a:t>
            </a:r>
          </a:p>
        </p:txBody>
      </p:sp>
      <p:sp>
        <p:nvSpPr>
          <p:cNvPr id="31" name="Text Placeholder 7">
            <a:extLst>
              <a:ext uri="{FF2B5EF4-FFF2-40B4-BE49-F238E27FC236}">
                <a16:creationId xmlns:a16="http://schemas.microsoft.com/office/drawing/2014/main" id="{1845E586-BA03-C255-AD7C-E2B4E2F2926C}"/>
              </a:ext>
            </a:extLst>
          </p:cNvPr>
          <p:cNvSpPr>
            <a:spLocks noGrp="1"/>
          </p:cNvSpPr>
          <p:nvPr>
            <p:ph type="body" sz="quarter" idx="29" hasCustomPrompt="1"/>
          </p:nvPr>
        </p:nvSpPr>
        <p:spPr>
          <a:xfrm>
            <a:off x="798195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32" name="Pladsholder til tekst 8">
            <a:extLst>
              <a:ext uri="{FF2B5EF4-FFF2-40B4-BE49-F238E27FC236}">
                <a16:creationId xmlns:a16="http://schemas.microsoft.com/office/drawing/2014/main" id="{26421C3B-18E1-ECB0-AD87-949AA8673C2A}"/>
              </a:ext>
            </a:extLst>
          </p:cNvPr>
          <p:cNvSpPr>
            <a:spLocks noGrp="1"/>
          </p:cNvSpPr>
          <p:nvPr>
            <p:ph type="body" sz="quarter" idx="30" hasCustomPrompt="1"/>
          </p:nvPr>
        </p:nvSpPr>
        <p:spPr>
          <a:xfrm>
            <a:off x="7981950" y="4288831"/>
            <a:ext cx="2832099" cy="1002283"/>
          </a:xfrm>
        </p:spPr>
        <p:txBody>
          <a:bodyPr anchor="b"/>
          <a:lstStyle>
            <a:lvl1pPr marL="0" indent="0">
              <a:buNone/>
              <a:defRPr sz="6000">
                <a:latin typeface="+mj-lt"/>
              </a:defRPr>
            </a:lvl1pPr>
          </a:lstStyle>
          <a:p>
            <a:pPr lvl="0"/>
            <a:r>
              <a:rPr lang="da-DK"/>
              <a:t>XX</a:t>
            </a:r>
          </a:p>
        </p:txBody>
      </p:sp>
    </p:spTree>
    <p:extLst>
      <p:ext uri="{BB962C8B-B14F-4D97-AF65-F5344CB8AC3E}">
        <p14:creationId xmlns:p14="http://schemas.microsoft.com/office/powerpoint/2010/main" val="3492752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Nøgletal ">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818D63-1275-AB15-2EDA-52327E2643F9}"/>
              </a:ext>
            </a:extLst>
          </p:cNvPr>
          <p:cNvSpPr>
            <a:spLocks noGrp="1"/>
          </p:cNvSpPr>
          <p:nvPr>
            <p:ph type="body" sz="quarter" idx="13" hasCustomPrompt="1"/>
          </p:nvPr>
        </p:nvSpPr>
        <p:spPr>
          <a:xfrm>
            <a:off x="43180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pic>
        <p:nvPicPr>
          <p:cNvPr id="3" name="Graphic 5">
            <a:extLst>
              <a:ext uri="{FF2B5EF4-FFF2-40B4-BE49-F238E27FC236}">
                <a16:creationId xmlns:a16="http://schemas.microsoft.com/office/drawing/2014/main" id="{B13606F4-D625-B290-9AAE-4696309EDE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7" name="Pladsholder til tekst 6">
            <a:extLst>
              <a:ext uri="{FF2B5EF4-FFF2-40B4-BE49-F238E27FC236}">
                <a16:creationId xmlns:a16="http://schemas.microsoft.com/office/drawing/2014/main" id="{B4E932FC-23D2-1B53-CEA2-2AE59AE38DDF}"/>
              </a:ext>
            </a:extLst>
          </p:cNvPr>
          <p:cNvSpPr>
            <a:spLocks noGrp="1"/>
          </p:cNvSpPr>
          <p:nvPr>
            <p:ph type="body" sz="quarter" idx="19" hasCustomPrompt="1"/>
          </p:nvPr>
        </p:nvSpPr>
        <p:spPr>
          <a:xfrm>
            <a:off x="431800" y="1440000"/>
            <a:ext cx="56642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da-DK"/>
              <a:t>Underrubrik</a:t>
            </a:r>
          </a:p>
        </p:txBody>
      </p:sp>
      <p:sp>
        <p:nvSpPr>
          <p:cNvPr id="5" name="Slide Number Placeholder 5">
            <a:extLst>
              <a:ext uri="{FF2B5EF4-FFF2-40B4-BE49-F238E27FC236}">
                <a16:creationId xmlns:a16="http://schemas.microsoft.com/office/drawing/2014/main" id="{9DBBCE32-7332-E7AB-98E1-F227FA9B539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9" name="Pladsholder til tekst 8">
            <a:extLst>
              <a:ext uri="{FF2B5EF4-FFF2-40B4-BE49-F238E27FC236}">
                <a16:creationId xmlns:a16="http://schemas.microsoft.com/office/drawing/2014/main" id="{D15C6651-C8FB-1708-E8A8-84DA9C21C476}"/>
              </a:ext>
            </a:extLst>
          </p:cNvPr>
          <p:cNvSpPr>
            <a:spLocks noGrp="1"/>
          </p:cNvSpPr>
          <p:nvPr>
            <p:ph type="body" sz="quarter" idx="20" hasCustomPrompt="1"/>
          </p:nvPr>
        </p:nvSpPr>
        <p:spPr>
          <a:xfrm>
            <a:off x="431800" y="1925775"/>
            <a:ext cx="2832099" cy="1002283"/>
          </a:xfrm>
        </p:spPr>
        <p:txBody>
          <a:bodyPr anchor="b"/>
          <a:lstStyle>
            <a:lvl1pPr marL="0" indent="0">
              <a:buNone/>
              <a:defRPr sz="6000">
                <a:latin typeface="+mj-lt"/>
              </a:defRPr>
            </a:lvl1pPr>
          </a:lstStyle>
          <a:p>
            <a:pPr lvl="0"/>
            <a:r>
              <a:rPr lang="da-DK"/>
              <a:t>XX</a:t>
            </a:r>
          </a:p>
        </p:txBody>
      </p:sp>
      <p:sp>
        <p:nvSpPr>
          <p:cNvPr id="10" name="Title 1">
            <a:extLst>
              <a:ext uri="{FF2B5EF4-FFF2-40B4-BE49-F238E27FC236}">
                <a16:creationId xmlns:a16="http://schemas.microsoft.com/office/drawing/2014/main" id="{1C4660C4-D770-12F5-F879-663148C9B149}"/>
              </a:ext>
            </a:extLst>
          </p:cNvPr>
          <p:cNvSpPr>
            <a:spLocks noGrp="1"/>
          </p:cNvSpPr>
          <p:nvPr>
            <p:ph type="title" hasCustomPrompt="1"/>
          </p:nvPr>
        </p:nvSpPr>
        <p:spPr>
          <a:xfrm>
            <a:off x="431800" y="431802"/>
            <a:ext cx="5664200" cy="966187"/>
          </a:xfrm>
        </p:spPr>
        <p:txBody>
          <a:bodyPr anchor="b"/>
          <a:lstStyle/>
          <a:p>
            <a:r>
              <a:rPr lang="da-DK"/>
              <a:t>Overskrift</a:t>
            </a:r>
            <a:br>
              <a:rPr lang="da-DK"/>
            </a:br>
            <a:r>
              <a:rPr lang="da-DK"/>
              <a:t>max 2 linjer</a:t>
            </a:r>
          </a:p>
        </p:txBody>
      </p:sp>
      <p:sp>
        <p:nvSpPr>
          <p:cNvPr id="13" name="Text Placeholder 7">
            <a:extLst>
              <a:ext uri="{FF2B5EF4-FFF2-40B4-BE49-F238E27FC236}">
                <a16:creationId xmlns:a16="http://schemas.microsoft.com/office/drawing/2014/main" id="{635DB809-1613-1F0C-742B-51ADEB2C1D3C}"/>
              </a:ext>
            </a:extLst>
          </p:cNvPr>
          <p:cNvSpPr>
            <a:spLocks noGrp="1"/>
          </p:cNvSpPr>
          <p:nvPr>
            <p:ph type="body" sz="quarter" idx="21" hasCustomPrompt="1"/>
          </p:nvPr>
        </p:nvSpPr>
        <p:spPr>
          <a:xfrm>
            <a:off x="4206875"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14" name="Pladsholder til tekst 8">
            <a:extLst>
              <a:ext uri="{FF2B5EF4-FFF2-40B4-BE49-F238E27FC236}">
                <a16:creationId xmlns:a16="http://schemas.microsoft.com/office/drawing/2014/main" id="{7D659B1C-27C9-10BB-8B95-8CC192CFCAFD}"/>
              </a:ext>
            </a:extLst>
          </p:cNvPr>
          <p:cNvSpPr>
            <a:spLocks noGrp="1"/>
          </p:cNvSpPr>
          <p:nvPr>
            <p:ph type="body" sz="quarter" idx="22" hasCustomPrompt="1"/>
          </p:nvPr>
        </p:nvSpPr>
        <p:spPr>
          <a:xfrm>
            <a:off x="4206875" y="1925775"/>
            <a:ext cx="2832099" cy="1002283"/>
          </a:xfrm>
        </p:spPr>
        <p:txBody>
          <a:bodyPr anchor="b"/>
          <a:lstStyle>
            <a:lvl1pPr marL="0" indent="0">
              <a:buNone/>
              <a:defRPr sz="6000">
                <a:latin typeface="+mj-lt"/>
              </a:defRPr>
            </a:lvl1pPr>
          </a:lstStyle>
          <a:p>
            <a:pPr lvl="0"/>
            <a:r>
              <a:rPr lang="da-DK"/>
              <a:t>XX</a:t>
            </a:r>
          </a:p>
        </p:txBody>
      </p:sp>
      <p:sp>
        <p:nvSpPr>
          <p:cNvPr id="25" name="Text Placeholder 7">
            <a:extLst>
              <a:ext uri="{FF2B5EF4-FFF2-40B4-BE49-F238E27FC236}">
                <a16:creationId xmlns:a16="http://schemas.microsoft.com/office/drawing/2014/main" id="{E2FE5068-6DDC-B945-0CD0-F155FA45D835}"/>
              </a:ext>
            </a:extLst>
          </p:cNvPr>
          <p:cNvSpPr>
            <a:spLocks noGrp="1"/>
          </p:cNvSpPr>
          <p:nvPr>
            <p:ph type="body" sz="quarter" idx="23" hasCustomPrompt="1"/>
          </p:nvPr>
        </p:nvSpPr>
        <p:spPr>
          <a:xfrm>
            <a:off x="798195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6" name="Pladsholder til tekst 8">
            <a:extLst>
              <a:ext uri="{FF2B5EF4-FFF2-40B4-BE49-F238E27FC236}">
                <a16:creationId xmlns:a16="http://schemas.microsoft.com/office/drawing/2014/main" id="{C471DAC7-59AF-6F39-CB54-61CB64E0A6C2}"/>
              </a:ext>
            </a:extLst>
          </p:cNvPr>
          <p:cNvSpPr>
            <a:spLocks noGrp="1"/>
          </p:cNvSpPr>
          <p:nvPr>
            <p:ph type="body" sz="quarter" idx="24" hasCustomPrompt="1"/>
          </p:nvPr>
        </p:nvSpPr>
        <p:spPr>
          <a:xfrm>
            <a:off x="7981950" y="1925775"/>
            <a:ext cx="2832099" cy="1002283"/>
          </a:xfrm>
        </p:spPr>
        <p:txBody>
          <a:bodyPr anchor="b"/>
          <a:lstStyle>
            <a:lvl1pPr marL="0" indent="0">
              <a:buNone/>
              <a:defRPr sz="6000">
                <a:latin typeface="+mj-lt"/>
              </a:defRPr>
            </a:lvl1pPr>
          </a:lstStyle>
          <a:p>
            <a:pPr lvl="0"/>
            <a:r>
              <a:rPr lang="da-DK"/>
              <a:t>XX</a:t>
            </a:r>
          </a:p>
        </p:txBody>
      </p:sp>
      <p:sp>
        <p:nvSpPr>
          <p:cNvPr id="27" name="Text Placeholder 7">
            <a:extLst>
              <a:ext uri="{FF2B5EF4-FFF2-40B4-BE49-F238E27FC236}">
                <a16:creationId xmlns:a16="http://schemas.microsoft.com/office/drawing/2014/main" id="{97F247A6-7DED-E505-B869-AC92A8A74831}"/>
              </a:ext>
            </a:extLst>
          </p:cNvPr>
          <p:cNvSpPr>
            <a:spLocks noGrp="1"/>
          </p:cNvSpPr>
          <p:nvPr>
            <p:ph type="body" sz="quarter" idx="25" hasCustomPrompt="1"/>
          </p:nvPr>
        </p:nvSpPr>
        <p:spPr>
          <a:xfrm>
            <a:off x="43180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28" name="Pladsholder til tekst 8">
            <a:extLst>
              <a:ext uri="{FF2B5EF4-FFF2-40B4-BE49-F238E27FC236}">
                <a16:creationId xmlns:a16="http://schemas.microsoft.com/office/drawing/2014/main" id="{9425C97C-A484-142E-136E-674675ADDCF9}"/>
              </a:ext>
            </a:extLst>
          </p:cNvPr>
          <p:cNvSpPr>
            <a:spLocks noGrp="1"/>
          </p:cNvSpPr>
          <p:nvPr>
            <p:ph type="body" sz="quarter" idx="26" hasCustomPrompt="1"/>
          </p:nvPr>
        </p:nvSpPr>
        <p:spPr>
          <a:xfrm>
            <a:off x="431800" y="4288831"/>
            <a:ext cx="2832099" cy="1002283"/>
          </a:xfrm>
        </p:spPr>
        <p:txBody>
          <a:bodyPr anchor="b"/>
          <a:lstStyle>
            <a:lvl1pPr marL="0" indent="0">
              <a:buNone/>
              <a:defRPr sz="6000">
                <a:latin typeface="+mj-lt"/>
              </a:defRPr>
            </a:lvl1pPr>
          </a:lstStyle>
          <a:p>
            <a:pPr lvl="0"/>
            <a:r>
              <a:rPr lang="da-DK"/>
              <a:t>XX</a:t>
            </a:r>
          </a:p>
        </p:txBody>
      </p:sp>
      <p:sp>
        <p:nvSpPr>
          <p:cNvPr id="29" name="Text Placeholder 7">
            <a:extLst>
              <a:ext uri="{FF2B5EF4-FFF2-40B4-BE49-F238E27FC236}">
                <a16:creationId xmlns:a16="http://schemas.microsoft.com/office/drawing/2014/main" id="{CAA65BD1-7CC7-879D-8731-AC4389F1FEDC}"/>
              </a:ext>
            </a:extLst>
          </p:cNvPr>
          <p:cNvSpPr>
            <a:spLocks noGrp="1"/>
          </p:cNvSpPr>
          <p:nvPr>
            <p:ph type="body" sz="quarter" idx="27" hasCustomPrompt="1"/>
          </p:nvPr>
        </p:nvSpPr>
        <p:spPr>
          <a:xfrm>
            <a:off x="4206875"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30" name="Pladsholder til tekst 8">
            <a:extLst>
              <a:ext uri="{FF2B5EF4-FFF2-40B4-BE49-F238E27FC236}">
                <a16:creationId xmlns:a16="http://schemas.microsoft.com/office/drawing/2014/main" id="{33543054-A243-5685-7358-3E878893F57F}"/>
              </a:ext>
            </a:extLst>
          </p:cNvPr>
          <p:cNvSpPr>
            <a:spLocks noGrp="1"/>
          </p:cNvSpPr>
          <p:nvPr>
            <p:ph type="body" sz="quarter" idx="28" hasCustomPrompt="1"/>
          </p:nvPr>
        </p:nvSpPr>
        <p:spPr>
          <a:xfrm>
            <a:off x="4206875" y="4288831"/>
            <a:ext cx="2832099" cy="1002283"/>
          </a:xfrm>
        </p:spPr>
        <p:txBody>
          <a:bodyPr anchor="b"/>
          <a:lstStyle>
            <a:lvl1pPr marL="0" indent="0">
              <a:buNone/>
              <a:defRPr sz="6000">
                <a:latin typeface="+mj-lt"/>
              </a:defRPr>
            </a:lvl1pPr>
          </a:lstStyle>
          <a:p>
            <a:pPr lvl="0"/>
            <a:r>
              <a:rPr lang="da-DK"/>
              <a:t>XX</a:t>
            </a:r>
          </a:p>
        </p:txBody>
      </p:sp>
      <p:sp>
        <p:nvSpPr>
          <p:cNvPr id="31" name="Text Placeholder 7">
            <a:extLst>
              <a:ext uri="{FF2B5EF4-FFF2-40B4-BE49-F238E27FC236}">
                <a16:creationId xmlns:a16="http://schemas.microsoft.com/office/drawing/2014/main" id="{1845E586-BA03-C255-AD7C-E2B4E2F2926C}"/>
              </a:ext>
            </a:extLst>
          </p:cNvPr>
          <p:cNvSpPr>
            <a:spLocks noGrp="1"/>
          </p:cNvSpPr>
          <p:nvPr>
            <p:ph type="body" sz="quarter" idx="29" hasCustomPrompt="1"/>
          </p:nvPr>
        </p:nvSpPr>
        <p:spPr>
          <a:xfrm>
            <a:off x="798195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da-DK"/>
              <a:t>Tekst</a:t>
            </a:r>
          </a:p>
        </p:txBody>
      </p:sp>
      <p:sp>
        <p:nvSpPr>
          <p:cNvPr id="32" name="Pladsholder til tekst 8">
            <a:extLst>
              <a:ext uri="{FF2B5EF4-FFF2-40B4-BE49-F238E27FC236}">
                <a16:creationId xmlns:a16="http://schemas.microsoft.com/office/drawing/2014/main" id="{26421C3B-18E1-ECB0-AD87-949AA8673C2A}"/>
              </a:ext>
            </a:extLst>
          </p:cNvPr>
          <p:cNvSpPr>
            <a:spLocks noGrp="1"/>
          </p:cNvSpPr>
          <p:nvPr>
            <p:ph type="body" sz="quarter" idx="30" hasCustomPrompt="1"/>
          </p:nvPr>
        </p:nvSpPr>
        <p:spPr>
          <a:xfrm>
            <a:off x="7981950" y="4288831"/>
            <a:ext cx="2832099" cy="1002283"/>
          </a:xfrm>
        </p:spPr>
        <p:txBody>
          <a:bodyPr anchor="b"/>
          <a:lstStyle>
            <a:lvl1pPr marL="0" indent="0">
              <a:buNone/>
              <a:defRPr sz="6000">
                <a:latin typeface="+mj-lt"/>
              </a:defRPr>
            </a:lvl1pPr>
          </a:lstStyle>
          <a:p>
            <a:pPr lvl="0"/>
            <a:r>
              <a:rPr lang="da-DK"/>
              <a:t>XX</a:t>
            </a:r>
          </a:p>
        </p:txBody>
      </p:sp>
    </p:spTree>
    <p:extLst>
      <p:ext uri="{BB962C8B-B14F-4D97-AF65-F5344CB8AC3E}">
        <p14:creationId xmlns:p14="http://schemas.microsoft.com/office/powerpoint/2010/main" val="3777647739"/>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eksbokse">
    <p:bg>
      <p:bgPr>
        <a:solidFill>
          <a:schemeClr val="accent2"/>
        </a:solidFill>
        <a:effectLst/>
      </p:bgPr>
    </p:bg>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2049714F-87A2-0C40-C178-30B1C769451F}"/>
              </a:ext>
            </a:extLst>
          </p:cNvPr>
          <p:cNvSpPr/>
          <p:nvPr/>
        </p:nvSpPr>
        <p:spPr>
          <a:xfrm>
            <a:off x="4351800"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ext Placeholder 8">
            <a:extLst>
              <a:ext uri="{FF2B5EF4-FFF2-40B4-BE49-F238E27FC236}">
                <a16:creationId xmlns:a16="http://schemas.microsoft.com/office/drawing/2014/main" id="{62515245-7125-065C-49C4-CF09B2897FE8}"/>
              </a:ext>
            </a:extLst>
          </p:cNvPr>
          <p:cNvSpPr>
            <a:spLocks noGrp="1"/>
          </p:cNvSpPr>
          <p:nvPr>
            <p:ph type="body" sz="quarter" idx="14" hasCustomPrompt="1"/>
          </p:nvPr>
        </p:nvSpPr>
        <p:spPr>
          <a:xfrm>
            <a:off x="4351800"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da-DK"/>
              <a:t>Overskrift </a:t>
            </a:r>
            <a:br>
              <a:rPr lang="da-DK"/>
            </a:br>
            <a:r>
              <a:rPr lang="da-DK"/>
              <a:t>max 2 linjer</a:t>
            </a:r>
          </a:p>
        </p:txBody>
      </p:sp>
      <p:sp>
        <p:nvSpPr>
          <p:cNvPr id="16" name="Rounded Rectangle 15">
            <a:extLst>
              <a:ext uri="{FF2B5EF4-FFF2-40B4-BE49-F238E27FC236}">
                <a16:creationId xmlns:a16="http://schemas.microsoft.com/office/drawing/2014/main" id="{F1A2B91E-AF26-3BDA-3331-E3A9BB42B59D}"/>
              </a:ext>
            </a:extLst>
          </p:cNvPr>
          <p:cNvSpPr/>
          <p:nvPr/>
        </p:nvSpPr>
        <p:spPr>
          <a:xfrm>
            <a:off x="431798"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Text Placeholder 8">
            <a:extLst>
              <a:ext uri="{FF2B5EF4-FFF2-40B4-BE49-F238E27FC236}">
                <a16:creationId xmlns:a16="http://schemas.microsoft.com/office/drawing/2014/main" id="{24F82C40-6270-A4FC-E4F6-2B33A886CAE9}"/>
              </a:ext>
            </a:extLst>
          </p:cNvPr>
          <p:cNvSpPr>
            <a:spLocks noGrp="1"/>
          </p:cNvSpPr>
          <p:nvPr>
            <p:ph type="body" sz="quarter" idx="18" hasCustomPrompt="1"/>
          </p:nvPr>
        </p:nvSpPr>
        <p:spPr>
          <a:xfrm>
            <a:off x="43179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da-DK"/>
              <a:t>Overskrift </a:t>
            </a:r>
            <a:br>
              <a:rPr lang="da-DK"/>
            </a:br>
            <a:r>
              <a:rPr lang="da-DK"/>
              <a:t>max 2 linjer</a:t>
            </a:r>
          </a:p>
        </p:txBody>
      </p:sp>
      <p:sp>
        <p:nvSpPr>
          <p:cNvPr id="19" name="Rounded Rectangle 18">
            <a:extLst>
              <a:ext uri="{FF2B5EF4-FFF2-40B4-BE49-F238E27FC236}">
                <a16:creationId xmlns:a16="http://schemas.microsoft.com/office/drawing/2014/main" id="{614E7FEE-E355-6E90-81C3-053932F09AC4}"/>
              </a:ext>
            </a:extLst>
          </p:cNvPr>
          <p:cNvSpPr/>
          <p:nvPr/>
        </p:nvSpPr>
        <p:spPr>
          <a:xfrm>
            <a:off x="8268488"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Text Placeholder 8">
            <a:extLst>
              <a:ext uri="{FF2B5EF4-FFF2-40B4-BE49-F238E27FC236}">
                <a16:creationId xmlns:a16="http://schemas.microsoft.com/office/drawing/2014/main" id="{32522D3D-A888-4D4E-E799-F032BD48DBF8}"/>
              </a:ext>
            </a:extLst>
          </p:cNvPr>
          <p:cNvSpPr>
            <a:spLocks noGrp="1"/>
          </p:cNvSpPr>
          <p:nvPr>
            <p:ph type="body" sz="quarter" idx="20" hasCustomPrompt="1"/>
          </p:nvPr>
        </p:nvSpPr>
        <p:spPr>
          <a:xfrm>
            <a:off x="826848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da-DK"/>
              <a:t>Overskrift </a:t>
            </a:r>
            <a:br>
              <a:rPr lang="da-DK"/>
            </a:br>
            <a:r>
              <a:rPr lang="da-DK"/>
              <a:t>max 2 linjer</a:t>
            </a:r>
          </a:p>
        </p:txBody>
      </p:sp>
      <p:pic>
        <p:nvPicPr>
          <p:cNvPr id="2" name="Graphic 5">
            <a:extLst>
              <a:ext uri="{FF2B5EF4-FFF2-40B4-BE49-F238E27FC236}">
                <a16:creationId xmlns:a16="http://schemas.microsoft.com/office/drawing/2014/main" id="{717FFA4B-AC44-5C64-8538-6FFE8CE59F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1DAC7960-0F60-8228-DC1E-5FE7BABE62F6}"/>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5" name="Pladsholder til tekst 4">
            <a:extLst>
              <a:ext uri="{FF2B5EF4-FFF2-40B4-BE49-F238E27FC236}">
                <a16:creationId xmlns:a16="http://schemas.microsoft.com/office/drawing/2014/main" id="{625AF3E6-1B1D-615D-AD7B-5A3713E0A811}"/>
              </a:ext>
            </a:extLst>
          </p:cNvPr>
          <p:cNvSpPr>
            <a:spLocks noGrp="1"/>
          </p:cNvSpPr>
          <p:nvPr>
            <p:ph type="body" sz="quarter" idx="22" hasCustomPrompt="1"/>
          </p:nvPr>
        </p:nvSpPr>
        <p:spPr>
          <a:xfrm>
            <a:off x="431800" y="2622927"/>
            <a:ext cx="3487738" cy="3222003"/>
          </a:xfrm>
        </p:spPr>
        <p:txBody>
          <a:bodyPr lIns="360000" rIns="360000" bIns="36000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tekst 4">
            <a:extLst>
              <a:ext uri="{FF2B5EF4-FFF2-40B4-BE49-F238E27FC236}">
                <a16:creationId xmlns:a16="http://schemas.microsoft.com/office/drawing/2014/main" id="{C3745A2D-44F6-B643-C86C-6C3FDAA140FB}"/>
              </a:ext>
            </a:extLst>
          </p:cNvPr>
          <p:cNvSpPr>
            <a:spLocks noGrp="1"/>
          </p:cNvSpPr>
          <p:nvPr>
            <p:ph type="body" sz="quarter" idx="23" hasCustomPrompt="1"/>
          </p:nvPr>
        </p:nvSpPr>
        <p:spPr>
          <a:xfrm>
            <a:off x="4352462" y="2622927"/>
            <a:ext cx="3487738" cy="3222003"/>
          </a:xfrm>
        </p:spPr>
        <p:txBody>
          <a:bodyPr lIns="360000" rIns="360000" bIns="36000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4">
            <a:extLst>
              <a:ext uri="{FF2B5EF4-FFF2-40B4-BE49-F238E27FC236}">
                <a16:creationId xmlns:a16="http://schemas.microsoft.com/office/drawing/2014/main" id="{4EF11347-B30A-0269-0A85-C2CA92E80428}"/>
              </a:ext>
            </a:extLst>
          </p:cNvPr>
          <p:cNvSpPr>
            <a:spLocks noGrp="1"/>
          </p:cNvSpPr>
          <p:nvPr>
            <p:ph type="body" sz="quarter" idx="24" hasCustomPrompt="1"/>
          </p:nvPr>
        </p:nvSpPr>
        <p:spPr>
          <a:xfrm>
            <a:off x="8256150" y="2622926"/>
            <a:ext cx="3487738" cy="3222003"/>
          </a:xfrm>
        </p:spPr>
        <p:txBody>
          <a:bodyPr lIns="360000" rIns="360000" bIns="36000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9060780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Bokse Tekst/Billede/Tekst">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E8CB959-5317-3A20-C0CF-8BF3FFB60B69}"/>
              </a:ext>
            </a:extLst>
          </p:cNvPr>
          <p:cNvSpPr>
            <a:spLocks noGrp="1"/>
          </p:cNvSpPr>
          <p:nvPr>
            <p:ph type="pic" sz="quarter" idx="22" hasCustomPrompt="1"/>
          </p:nvPr>
        </p:nvSpPr>
        <p:spPr>
          <a:xfrm>
            <a:off x="4351338" y="1146175"/>
            <a:ext cx="3489325" cy="4699000"/>
          </a:xfrm>
          <a:prstGeom prst="roundRect">
            <a:avLst>
              <a:gd name="adj" fmla="val 5291"/>
            </a:avLst>
          </a:prstGeom>
          <a:solidFill>
            <a:schemeClr val="bg1"/>
          </a:solidFill>
        </p:spPr>
        <p:txBody>
          <a:bodyPr>
            <a:normAutofit/>
          </a:bodyPr>
          <a:lstStyle>
            <a:lvl1pPr marL="0" indent="0" algn="ctr">
              <a:buFontTx/>
              <a:buNone/>
              <a:defRPr sz="1100"/>
            </a:lvl1pPr>
          </a:lstStyle>
          <a:p>
            <a:r>
              <a:rPr lang="da-DK"/>
              <a:t>Klik på ikonet for at tilføje et billede</a:t>
            </a:r>
          </a:p>
        </p:txBody>
      </p:sp>
      <p:sp>
        <p:nvSpPr>
          <p:cNvPr id="16" name="Rounded Rectangle 15">
            <a:extLst>
              <a:ext uri="{FF2B5EF4-FFF2-40B4-BE49-F238E27FC236}">
                <a16:creationId xmlns:a16="http://schemas.microsoft.com/office/drawing/2014/main" id="{F1A2B91E-AF26-3BDA-3331-E3A9BB42B59D}"/>
              </a:ext>
            </a:extLst>
          </p:cNvPr>
          <p:cNvSpPr/>
          <p:nvPr/>
        </p:nvSpPr>
        <p:spPr>
          <a:xfrm>
            <a:off x="431800" y="1146175"/>
            <a:ext cx="3488400" cy="4698000"/>
          </a:xfrm>
          <a:prstGeom prst="roundRect">
            <a:avLst>
              <a:gd name="adj" fmla="val 51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Text Placeholder 8">
            <a:extLst>
              <a:ext uri="{FF2B5EF4-FFF2-40B4-BE49-F238E27FC236}">
                <a16:creationId xmlns:a16="http://schemas.microsoft.com/office/drawing/2014/main" id="{24F82C40-6270-A4FC-E4F6-2B33A886CAE9}"/>
              </a:ext>
            </a:extLst>
          </p:cNvPr>
          <p:cNvSpPr>
            <a:spLocks noGrp="1"/>
          </p:cNvSpPr>
          <p:nvPr>
            <p:ph type="body" sz="quarter" idx="18" hasCustomPrompt="1"/>
          </p:nvPr>
        </p:nvSpPr>
        <p:spPr>
          <a:xfrm>
            <a:off x="43179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da-DK"/>
              <a:t>Overskrift </a:t>
            </a:r>
            <a:br>
              <a:rPr lang="da-DK"/>
            </a:br>
            <a:r>
              <a:rPr lang="da-DK"/>
              <a:t>max 2 linjer</a:t>
            </a:r>
          </a:p>
        </p:txBody>
      </p:sp>
      <p:sp>
        <p:nvSpPr>
          <p:cNvPr id="19" name="Rounded Rectangle 18">
            <a:extLst>
              <a:ext uri="{FF2B5EF4-FFF2-40B4-BE49-F238E27FC236}">
                <a16:creationId xmlns:a16="http://schemas.microsoft.com/office/drawing/2014/main" id="{614E7FEE-E355-6E90-81C3-053932F09AC4}"/>
              </a:ext>
            </a:extLst>
          </p:cNvPr>
          <p:cNvSpPr/>
          <p:nvPr/>
        </p:nvSpPr>
        <p:spPr>
          <a:xfrm>
            <a:off x="8268488" y="1146931"/>
            <a:ext cx="3488400" cy="4698000"/>
          </a:xfrm>
          <a:prstGeom prst="roundRect">
            <a:avLst>
              <a:gd name="adj" fmla="val 516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Text Placeholder 8">
            <a:extLst>
              <a:ext uri="{FF2B5EF4-FFF2-40B4-BE49-F238E27FC236}">
                <a16:creationId xmlns:a16="http://schemas.microsoft.com/office/drawing/2014/main" id="{32522D3D-A888-4D4E-E799-F032BD48DBF8}"/>
              </a:ext>
            </a:extLst>
          </p:cNvPr>
          <p:cNvSpPr>
            <a:spLocks noGrp="1"/>
          </p:cNvSpPr>
          <p:nvPr>
            <p:ph type="body" sz="quarter" idx="20" hasCustomPrompt="1"/>
          </p:nvPr>
        </p:nvSpPr>
        <p:spPr>
          <a:xfrm>
            <a:off x="826848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da-DK"/>
              <a:t>Overskrift </a:t>
            </a:r>
            <a:br>
              <a:rPr lang="da-DK"/>
            </a:br>
            <a:r>
              <a:rPr lang="da-DK"/>
              <a:t>max 2 linjer</a:t>
            </a:r>
          </a:p>
        </p:txBody>
      </p:sp>
      <p:pic>
        <p:nvPicPr>
          <p:cNvPr id="2" name="Graphic 5">
            <a:extLst>
              <a:ext uri="{FF2B5EF4-FFF2-40B4-BE49-F238E27FC236}">
                <a16:creationId xmlns:a16="http://schemas.microsoft.com/office/drawing/2014/main" id="{4FF4E234-2393-0B45-6F80-2137837ED9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5C171F39-F307-5250-4292-705B971CADF0}"/>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5" name="Pladsholder til tekst 4">
            <a:extLst>
              <a:ext uri="{FF2B5EF4-FFF2-40B4-BE49-F238E27FC236}">
                <a16:creationId xmlns:a16="http://schemas.microsoft.com/office/drawing/2014/main" id="{8EDB5390-1E18-37DC-4B2A-8162CF2771D9}"/>
              </a:ext>
            </a:extLst>
          </p:cNvPr>
          <p:cNvSpPr>
            <a:spLocks noGrp="1"/>
          </p:cNvSpPr>
          <p:nvPr>
            <p:ph type="body" sz="quarter" idx="23" hasCustomPrompt="1"/>
          </p:nvPr>
        </p:nvSpPr>
        <p:spPr>
          <a:xfrm>
            <a:off x="431796" y="2629964"/>
            <a:ext cx="3487738" cy="3222003"/>
          </a:xfrm>
        </p:spPr>
        <p:txBody>
          <a:bodyPr lIns="360000" rIns="360000" bIns="36000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tekst 4">
            <a:extLst>
              <a:ext uri="{FF2B5EF4-FFF2-40B4-BE49-F238E27FC236}">
                <a16:creationId xmlns:a16="http://schemas.microsoft.com/office/drawing/2014/main" id="{83F5EFA9-211E-1AD8-2C8C-4EC74FD49DEF}"/>
              </a:ext>
            </a:extLst>
          </p:cNvPr>
          <p:cNvSpPr>
            <a:spLocks noGrp="1"/>
          </p:cNvSpPr>
          <p:nvPr>
            <p:ph type="body" sz="quarter" idx="24" hasCustomPrompt="1"/>
          </p:nvPr>
        </p:nvSpPr>
        <p:spPr>
          <a:xfrm>
            <a:off x="8268488" y="2629963"/>
            <a:ext cx="3487738" cy="3222003"/>
          </a:xfrm>
        </p:spPr>
        <p:txBody>
          <a:bodyPr lIns="360000" rIns="360000" bIns="360000"/>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6717681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slide">
    <p:spTree>
      <p:nvGrpSpPr>
        <p:cNvPr id="1" name=""/>
        <p:cNvGrpSpPr/>
        <p:nvPr/>
      </p:nvGrpSpPr>
      <p:grpSpPr>
        <a:xfrm>
          <a:off x="0" y="0"/>
          <a:ext cx="0" cy="0"/>
          <a:chOff x="0" y="0"/>
          <a:chExt cx="0" cy="0"/>
        </a:xfrm>
      </p:grpSpPr>
      <p:pic>
        <p:nvPicPr>
          <p:cNvPr id="4" name="Graphic 5">
            <a:extLst>
              <a:ext uri="{FF2B5EF4-FFF2-40B4-BE49-F238E27FC236}">
                <a16:creationId xmlns:a16="http://schemas.microsoft.com/office/drawing/2014/main" id="{07BA6274-1E8A-E62B-EB85-E7B7768461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54F99EAE-C352-9D28-EC7A-390F149450F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1453089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lut">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Kombinationstegning: figur 11">
            <a:extLst>
              <a:ext uri="{FF2B5EF4-FFF2-40B4-BE49-F238E27FC236}">
                <a16:creationId xmlns:a16="http://schemas.microsoft.com/office/drawing/2014/main" id="{BBF3F5FD-EA4F-97E9-EBF0-DEF717EF951B}"/>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AFC0AA"/>
          </a:solidFill>
          <a:ln w="6350" cap="flat">
            <a:noFill/>
            <a:prstDash val="solid"/>
            <a:miter/>
          </a:ln>
        </p:spPr>
        <p:txBody>
          <a:bodyPr rtlCol="0" anchor="ctr"/>
          <a:lstStyle/>
          <a:p>
            <a:endParaRPr lang="da-DK"/>
          </a:p>
        </p:txBody>
      </p:sp>
      <p:sp>
        <p:nvSpPr>
          <p:cNvPr id="13" name="Kombinationstegning: figur 12">
            <a:extLst>
              <a:ext uri="{FF2B5EF4-FFF2-40B4-BE49-F238E27FC236}">
                <a16:creationId xmlns:a16="http://schemas.microsoft.com/office/drawing/2014/main" id="{6C7890A8-6459-F4B1-A181-8AEF37238AE1}"/>
              </a:ext>
            </a:extLst>
          </p:cNvPr>
          <p:cNvSpPr/>
          <p:nvPr/>
        </p:nvSpPr>
        <p:spPr>
          <a:xfrm>
            <a:off x="0" y="0"/>
            <a:ext cx="4807839" cy="6858000"/>
          </a:xfrm>
          <a:custGeom>
            <a:avLst/>
            <a:gdLst>
              <a:gd name="connsiteX0" fmla="*/ 3809111 w 4807839"/>
              <a:gd name="connsiteY0" fmla="*/ 6858000 h 6858000"/>
              <a:gd name="connsiteX1" fmla="*/ 3554222 w 4807839"/>
              <a:gd name="connsiteY1" fmla="*/ 4554474 h 6858000"/>
              <a:gd name="connsiteX2" fmla="*/ 2821051 w 4807839"/>
              <a:gd name="connsiteY2" fmla="*/ 2303336 h 6858000"/>
              <a:gd name="connsiteX3" fmla="*/ 4807839 w 4807839"/>
              <a:gd name="connsiteY3" fmla="*/ 0 h 6858000"/>
              <a:gd name="connsiteX4" fmla="*/ 0 w 4807839"/>
              <a:gd name="connsiteY4" fmla="*/ 0 h 6858000"/>
              <a:gd name="connsiteX5" fmla="*/ 0 w 4807839"/>
              <a:gd name="connsiteY5" fmla="*/ 6858000 h 6858000"/>
              <a:gd name="connsiteX6" fmla="*/ 3809111 w 480783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839" h="6858000">
                <a:moveTo>
                  <a:pt x="3809111" y="6858000"/>
                </a:moveTo>
                <a:cubicBezTo>
                  <a:pt x="4123309" y="6126988"/>
                  <a:pt x="3877120" y="5281676"/>
                  <a:pt x="3554222" y="4554474"/>
                </a:cubicBezTo>
                <a:cubicBezTo>
                  <a:pt x="3231325" y="3827272"/>
                  <a:pt x="2825115" y="3098991"/>
                  <a:pt x="2821051" y="2303336"/>
                </a:cubicBezTo>
                <a:cubicBezTo>
                  <a:pt x="2815400" y="1197039"/>
                  <a:pt x="3712718" y="156782"/>
                  <a:pt x="4807839" y="0"/>
                </a:cubicBezTo>
                <a:lnTo>
                  <a:pt x="0" y="0"/>
                </a:lnTo>
                <a:cubicBezTo>
                  <a:pt x="0" y="0"/>
                  <a:pt x="0" y="6858000"/>
                  <a:pt x="0" y="6858000"/>
                </a:cubicBezTo>
                <a:lnTo>
                  <a:pt x="3809111" y="6858000"/>
                </a:lnTo>
                <a:close/>
              </a:path>
            </a:pathLst>
          </a:custGeom>
          <a:solidFill>
            <a:srgbClr val="EBEBD7"/>
          </a:solidFill>
          <a:ln w="6350" cap="flat">
            <a:noFill/>
            <a:prstDash val="solid"/>
            <a:miter/>
          </a:ln>
        </p:spPr>
        <p:txBody>
          <a:bodyPr rtlCol="0" anchor="ctr"/>
          <a:lstStyle/>
          <a:p>
            <a:endParaRPr lang="da-DK"/>
          </a:p>
        </p:txBody>
      </p:sp>
      <p:sp>
        <p:nvSpPr>
          <p:cNvPr id="14" name="Kombinationstegning: figur 13">
            <a:extLst>
              <a:ext uri="{FF2B5EF4-FFF2-40B4-BE49-F238E27FC236}">
                <a16:creationId xmlns:a16="http://schemas.microsoft.com/office/drawing/2014/main" id="{31223D89-3560-5E66-3CA8-AAB2A5F5CC84}"/>
              </a:ext>
            </a:extLst>
          </p:cNvPr>
          <p:cNvSpPr/>
          <p:nvPr/>
        </p:nvSpPr>
        <p:spPr>
          <a:xfrm>
            <a:off x="7576121" y="0"/>
            <a:ext cx="4615878" cy="6858000"/>
          </a:xfrm>
          <a:custGeom>
            <a:avLst/>
            <a:gdLst>
              <a:gd name="connsiteX0" fmla="*/ 0 w 4615878"/>
              <a:gd name="connsiteY0" fmla="*/ 4045458 h 6858000"/>
              <a:gd name="connsiteX1" fmla="*/ 1624838 w 4615878"/>
              <a:gd name="connsiteY1" fmla="*/ 0 h 6858000"/>
              <a:gd name="connsiteX2" fmla="*/ 1624838 w 4615878"/>
              <a:gd name="connsiteY2" fmla="*/ 0 h 6858000"/>
              <a:gd name="connsiteX3" fmla="*/ 4615879 w 4615878"/>
              <a:gd name="connsiteY3" fmla="*/ 0 h 6858000"/>
              <a:gd name="connsiteX4" fmla="*/ 4615879 w 4615878"/>
              <a:gd name="connsiteY4" fmla="*/ 6858000 h 6858000"/>
              <a:gd name="connsiteX5" fmla="*/ 2445576 w 4615878"/>
              <a:gd name="connsiteY5" fmla="*/ 6858000 h 6858000"/>
              <a:gd name="connsiteX6" fmla="*/ 1286764 w 4615878"/>
              <a:gd name="connsiteY6" fmla="*/ 4045458 h 6858000"/>
              <a:gd name="connsiteX7" fmla="*/ 0 w 4615878"/>
              <a:gd name="connsiteY7" fmla="*/ 404545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5878" h="6858000">
                <a:moveTo>
                  <a:pt x="0" y="4045458"/>
                </a:moveTo>
                <a:lnTo>
                  <a:pt x="1624838" y="0"/>
                </a:lnTo>
                <a:lnTo>
                  <a:pt x="1624838" y="0"/>
                </a:lnTo>
                <a:lnTo>
                  <a:pt x="4615879" y="0"/>
                </a:lnTo>
                <a:lnTo>
                  <a:pt x="4615879" y="6858000"/>
                </a:lnTo>
                <a:lnTo>
                  <a:pt x="2445576" y="6858000"/>
                </a:lnTo>
                <a:lnTo>
                  <a:pt x="1286764" y="4045458"/>
                </a:lnTo>
                <a:lnTo>
                  <a:pt x="0" y="4045458"/>
                </a:lnTo>
                <a:close/>
              </a:path>
            </a:pathLst>
          </a:custGeom>
          <a:solidFill>
            <a:srgbClr val="4E644B"/>
          </a:solidFill>
          <a:ln w="6350" cap="flat">
            <a:noFill/>
            <a:prstDash val="solid"/>
            <a:miter/>
          </a:ln>
        </p:spPr>
        <p:txBody>
          <a:bodyPr rtlCol="0" anchor="ctr"/>
          <a:lstStyle/>
          <a:p>
            <a:endParaRPr lang="da-DK"/>
          </a:p>
        </p:txBody>
      </p:sp>
      <p:sp>
        <p:nvSpPr>
          <p:cNvPr id="16" name="Text Placeholder 8">
            <a:extLst>
              <a:ext uri="{FF2B5EF4-FFF2-40B4-BE49-F238E27FC236}">
                <a16:creationId xmlns:a16="http://schemas.microsoft.com/office/drawing/2014/main" id="{016A8881-4040-3859-B7BA-552F0EA43E67}"/>
              </a:ext>
            </a:extLst>
          </p:cNvPr>
          <p:cNvSpPr>
            <a:spLocks noGrp="1"/>
          </p:cNvSpPr>
          <p:nvPr>
            <p:ph type="body" sz="quarter" idx="12" hasCustomPrompt="1"/>
          </p:nvPr>
        </p:nvSpPr>
        <p:spPr>
          <a:xfrm>
            <a:off x="431800" y="4787900"/>
            <a:ext cx="2832100" cy="1636713"/>
          </a:xfrm>
        </p:spPr>
        <p:txBody>
          <a:bodyPr anchor="b" anchorCtr="0">
            <a:noAutofit/>
          </a:bodyPr>
          <a:lstStyle>
            <a:lvl1pPr marL="14288" indent="0">
              <a:lnSpc>
                <a:spcPts val="1800"/>
              </a:lnSpc>
              <a:spcBef>
                <a:spcPts val="0"/>
              </a:spcBef>
              <a:buFont typeface="Arial" panose="020B0604020202020204" pitchFamily="34" charset="0"/>
              <a:buNone/>
              <a:tabLst/>
              <a:defRPr sz="1400"/>
            </a:lvl1pPr>
            <a:lvl2pPr marL="14288" indent="0">
              <a:buFont typeface="Arial" panose="020B0604020202020204" pitchFamily="34" charset="0"/>
              <a:buNone/>
              <a:tabLst/>
              <a:defRPr/>
            </a:lvl2pPr>
            <a:lvl3pPr marL="14288" indent="0">
              <a:buFont typeface="Arial" panose="020B0604020202020204" pitchFamily="34" charset="0"/>
              <a:buNone/>
              <a:tabLst/>
              <a:defRPr/>
            </a:lvl3pPr>
            <a:lvl4pPr marL="14288" indent="0">
              <a:buFont typeface="Arial" panose="020B0604020202020204" pitchFamily="34" charset="0"/>
              <a:buNone/>
              <a:tabLst/>
              <a:defRPr/>
            </a:lvl4pPr>
            <a:lvl5pPr marL="14288" indent="0">
              <a:buFont typeface="Arial" panose="020B0604020202020204" pitchFamily="34" charset="0"/>
              <a:buNone/>
              <a:tabLst/>
              <a:defRPr/>
            </a:lvl5pPr>
          </a:lstStyle>
          <a:p>
            <a:pPr lvl="0"/>
            <a:r>
              <a:rPr lang="da-DK"/>
              <a:t>Kontaktinfo</a:t>
            </a:r>
          </a:p>
        </p:txBody>
      </p:sp>
      <p:grpSp>
        <p:nvGrpSpPr>
          <p:cNvPr id="28" name="Gruppe 27">
            <a:extLst>
              <a:ext uri="{FF2B5EF4-FFF2-40B4-BE49-F238E27FC236}">
                <a16:creationId xmlns:a16="http://schemas.microsoft.com/office/drawing/2014/main" id="{18E6D9E5-C0E1-1058-D232-DF2D340DF068}"/>
              </a:ext>
            </a:extLst>
          </p:cNvPr>
          <p:cNvGrpSpPr/>
          <p:nvPr/>
        </p:nvGrpSpPr>
        <p:grpSpPr>
          <a:xfrm>
            <a:off x="10833681" y="6183249"/>
            <a:ext cx="241300" cy="241364"/>
            <a:chOff x="10052209" y="5843067"/>
            <a:chExt cx="241300" cy="241364"/>
          </a:xfrm>
        </p:grpSpPr>
        <p:sp>
          <p:nvSpPr>
            <p:cNvPr id="22" name="Kombinationstegning: figur 21">
              <a:hlinkClick r:id="rId4"/>
              <a:extLst>
                <a:ext uri="{FF2B5EF4-FFF2-40B4-BE49-F238E27FC236}">
                  <a16:creationId xmlns:a16="http://schemas.microsoft.com/office/drawing/2014/main" id="{C37CEB69-7BD2-9B2B-4D0D-7FD635AC4BAC}"/>
                </a:ext>
              </a:extLst>
            </p:cNvPr>
            <p:cNvSpPr/>
            <p:nvPr/>
          </p:nvSpPr>
          <p:spPr>
            <a:xfrm>
              <a:off x="10052209" y="5843067"/>
              <a:ext cx="241300" cy="241300"/>
            </a:xfrm>
            <a:custGeom>
              <a:avLst/>
              <a:gdLst>
                <a:gd name="connsiteX0" fmla="*/ 120650 w 241300"/>
                <a:gd name="connsiteY0" fmla="*/ 0 h 241300"/>
                <a:gd name="connsiteX1" fmla="*/ 0 w 241300"/>
                <a:gd name="connsiteY1" fmla="*/ 120650 h 241300"/>
                <a:gd name="connsiteX2" fmla="*/ 120650 w 241300"/>
                <a:gd name="connsiteY2" fmla="*/ 241300 h 241300"/>
                <a:gd name="connsiteX3" fmla="*/ 241300 w 241300"/>
                <a:gd name="connsiteY3" fmla="*/ 120650 h 241300"/>
                <a:gd name="connsiteX4" fmla="*/ 120650 w 241300"/>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00" h="241300">
                  <a:moveTo>
                    <a:pt x="120650" y="0"/>
                  </a:moveTo>
                  <a:cubicBezTo>
                    <a:pt x="54039" y="0"/>
                    <a:pt x="0" y="54039"/>
                    <a:pt x="0" y="120650"/>
                  </a:cubicBezTo>
                  <a:cubicBezTo>
                    <a:pt x="0" y="187261"/>
                    <a:pt x="54039" y="241300"/>
                    <a:pt x="120650" y="241300"/>
                  </a:cubicBezTo>
                  <a:cubicBezTo>
                    <a:pt x="187262" y="241300"/>
                    <a:pt x="241300" y="187261"/>
                    <a:pt x="241300" y="120650"/>
                  </a:cubicBezTo>
                  <a:cubicBezTo>
                    <a:pt x="241300" y="54039"/>
                    <a:pt x="187262" y="0"/>
                    <a:pt x="120650" y="0"/>
                  </a:cubicBezTo>
                  <a:close/>
                </a:path>
              </a:pathLst>
            </a:custGeom>
            <a:solidFill>
              <a:srgbClr val="66F58A"/>
            </a:solidFill>
            <a:ln w="6350" cap="flat">
              <a:noFill/>
              <a:prstDash val="solid"/>
              <a:miter/>
            </a:ln>
          </p:spPr>
          <p:txBody>
            <a:bodyPr rtlCol="0" anchor="ctr"/>
            <a:lstStyle/>
            <a:p>
              <a:endParaRPr lang="da-DK"/>
            </a:p>
          </p:txBody>
        </p:sp>
        <p:sp>
          <p:nvSpPr>
            <p:cNvPr id="23" name="Kombinationstegning: figur 22">
              <a:extLst>
                <a:ext uri="{FF2B5EF4-FFF2-40B4-BE49-F238E27FC236}">
                  <a16:creationId xmlns:a16="http://schemas.microsoft.com/office/drawing/2014/main" id="{B410E2D7-E062-3D1E-1437-1AD9E475F7AD}"/>
                </a:ext>
              </a:extLst>
            </p:cNvPr>
            <p:cNvSpPr/>
            <p:nvPr/>
          </p:nvSpPr>
          <p:spPr>
            <a:xfrm>
              <a:off x="10124980" y="5892598"/>
              <a:ext cx="100647" cy="191833"/>
            </a:xfrm>
            <a:custGeom>
              <a:avLst/>
              <a:gdLst>
                <a:gd name="connsiteX0" fmla="*/ 64199 w 100647"/>
                <a:gd name="connsiteY0" fmla="*/ 103124 h 191833"/>
                <a:gd name="connsiteX1" fmla="*/ 95440 w 100647"/>
                <a:gd name="connsiteY1" fmla="*/ 103124 h 191833"/>
                <a:gd name="connsiteX2" fmla="*/ 100330 w 100647"/>
                <a:gd name="connsiteY2" fmla="*/ 71437 h 191833"/>
                <a:gd name="connsiteX3" fmla="*/ 64199 w 100647"/>
                <a:gd name="connsiteY3" fmla="*/ 71437 h 191833"/>
                <a:gd name="connsiteX4" fmla="*/ 64199 w 100647"/>
                <a:gd name="connsiteY4" fmla="*/ 54102 h 191833"/>
                <a:gd name="connsiteX5" fmla="*/ 80835 w 100647"/>
                <a:gd name="connsiteY5" fmla="*/ 29210 h 191833"/>
                <a:gd name="connsiteX6" fmla="*/ 100647 w 100647"/>
                <a:gd name="connsiteY6" fmla="*/ 29210 h 191833"/>
                <a:gd name="connsiteX7" fmla="*/ 100647 w 100647"/>
                <a:gd name="connsiteY7" fmla="*/ 1524 h 191833"/>
                <a:gd name="connsiteX8" fmla="*/ 75882 w 100647"/>
                <a:gd name="connsiteY8" fmla="*/ 0 h 191833"/>
                <a:gd name="connsiteX9" fmla="*/ 29845 w 100647"/>
                <a:gd name="connsiteY9" fmla="*/ 50292 h 191833"/>
                <a:gd name="connsiteX10" fmla="*/ 29845 w 100647"/>
                <a:gd name="connsiteY10" fmla="*/ 71374 h 191833"/>
                <a:gd name="connsiteX11" fmla="*/ 0 w 100647"/>
                <a:gd name="connsiteY11" fmla="*/ 71374 h 191833"/>
                <a:gd name="connsiteX12" fmla="*/ 0 w 100647"/>
                <a:gd name="connsiteY12" fmla="*/ 103124 h 191833"/>
                <a:gd name="connsiteX13" fmla="*/ 29845 w 100647"/>
                <a:gd name="connsiteY13" fmla="*/ 103124 h 191833"/>
                <a:gd name="connsiteX14" fmla="*/ 29845 w 100647"/>
                <a:gd name="connsiteY14" fmla="*/ 190309 h 191833"/>
                <a:gd name="connsiteX15" fmla="*/ 47879 w 100647"/>
                <a:gd name="connsiteY15" fmla="*/ 191834 h 191833"/>
                <a:gd name="connsiteX16" fmla="*/ 64199 w 100647"/>
                <a:gd name="connsiteY16" fmla="*/ 190627 h 191833"/>
                <a:gd name="connsiteX17" fmla="*/ 64199 w 100647"/>
                <a:gd name="connsiteY17" fmla="*/ 103187 h 19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647" h="191833">
                  <a:moveTo>
                    <a:pt x="64199" y="103124"/>
                  </a:moveTo>
                  <a:lnTo>
                    <a:pt x="95440" y="103124"/>
                  </a:lnTo>
                  <a:lnTo>
                    <a:pt x="100330" y="71437"/>
                  </a:lnTo>
                  <a:lnTo>
                    <a:pt x="64199" y="71437"/>
                  </a:lnTo>
                  <a:lnTo>
                    <a:pt x="64199" y="54102"/>
                  </a:lnTo>
                  <a:cubicBezTo>
                    <a:pt x="64199" y="40894"/>
                    <a:pt x="68516" y="29210"/>
                    <a:pt x="80835" y="29210"/>
                  </a:cubicBezTo>
                  <a:lnTo>
                    <a:pt x="100647" y="29210"/>
                  </a:lnTo>
                  <a:lnTo>
                    <a:pt x="100647" y="1524"/>
                  </a:lnTo>
                  <a:cubicBezTo>
                    <a:pt x="97155" y="1079"/>
                    <a:pt x="89789" y="0"/>
                    <a:pt x="75882" y="0"/>
                  </a:cubicBezTo>
                  <a:cubicBezTo>
                    <a:pt x="46863" y="0"/>
                    <a:pt x="29845" y="15303"/>
                    <a:pt x="29845" y="50292"/>
                  </a:cubicBezTo>
                  <a:lnTo>
                    <a:pt x="29845" y="71374"/>
                  </a:lnTo>
                  <a:lnTo>
                    <a:pt x="0" y="71374"/>
                  </a:lnTo>
                  <a:lnTo>
                    <a:pt x="0" y="103124"/>
                  </a:lnTo>
                  <a:lnTo>
                    <a:pt x="29845" y="103124"/>
                  </a:lnTo>
                  <a:lnTo>
                    <a:pt x="29845" y="190309"/>
                  </a:lnTo>
                  <a:cubicBezTo>
                    <a:pt x="35750" y="191198"/>
                    <a:pt x="41720" y="191834"/>
                    <a:pt x="47879" y="191834"/>
                  </a:cubicBezTo>
                  <a:cubicBezTo>
                    <a:pt x="53467" y="191834"/>
                    <a:pt x="58864" y="191325"/>
                    <a:pt x="64199" y="190627"/>
                  </a:cubicBezTo>
                  <a:lnTo>
                    <a:pt x="64199" y="103187"/>
                  </a:lnTo>
                  <a:close/>
                </a:path>
              </a:pathLst>
            </a:custGeom>
            <a:solidFill>
              <a:schemeClr val="accent3"/>
            </a:solidFill>
            <a:ln w="6350" cap="flat">
              <a:noFill/>
              <a:prstDash val="solid"/>
              <a:miter/>
            </a:ln>
          </p:spPr>
          <p:txBody>
            <a:bodyPr rtlCol="0" anchor="ctr"/>
            <a:lstStyle/>
            <a:p>
              <a:endParaRPr lang="da-DK"/>
            </a:p>
          </p:txBody>
        </p:sp>
      </p:grpSp>
      <p:sp>
        <p:nvSpPr>
          <p:cNvPr id="24" name="Kombinationstegning: figur 23">
            <a:hlinkClick r:id="rId5"/>
            <a:extLst>
              <a:ext uri="{FF2B5EF4-FFF2-40B4-BE49-F238E27FC236}">
                <a16:creationId xmlns:a16="http://schemas.microsoft.com/office/drawing/2014/main" id="{4F904380-2BF0-4EDA-06BD-416E5752E399}"/>
              </a:ext>
            </a:extLst>
          </p:cNvPr>
          <p:cNvSpPr/>
          <p:nvPr/>
        </p:nvSpPr>
        <p:spPr>
          <a:xfrm>
            <a:off x="11548025" y="6253327"/>
            <a:ext cx="228600" cy="184213"/>
          </a:xfrm>
          <a:custGeom>
            <a:avLst/>
            <a:gdLst>
              <a:gd name="connsiteX0" fmla="*/ 228600 w 228600"/>
              <a:gd name="connsiteY0" fmla="*/ 21781 h 184213"/>
              <a:gd name="connsiteX1" fmla="*/ 201613 w 228600"/>
              <a:gd name="connsiteY1" fmla="*/ 29147 h 184213"/>
              <a:gd name="connsiteX2" fmla="*/ 222250 w 228600"/>
              <a:gd name="connsiteY2" fmla="*/ 3366 h 184213"/>
              <a:gd name="connsiteX3" fmla="*/ 192468 w 228600"/>
              <a:gd name="connsiteY3" fmla="*/ 14669 h 184213"/>
              <a:gd name="connsiteX4" fmla="*/ 158306 w 228600"/>
              <a:gd name="connsiteY4" fmla="*/ 0 h 184213"/>
              <a:gd name="connsiteX5" fmla="*/ 111379 w 228600"/>
              <a:gd name="connsiteY5" fmla="*/ 46482 h 184213"/>
              <a:gd name="connsiteX6" fmla="*/ 112585 w 228600"/>
              <a:gd name="connsiteY6" fmla="*/ 57087 h 184213"/>
              <a:gd name="connsiteX7" fmla="*/ 15939 w 228600"/>
              <a:gd name="connsiteY7" fmla="*/ 8509 h 184213"/>
              <a:gd name="connsiteX8" fmla="*/ 9589 w 228600"/>
              <a:gd name="connsiteY8" fmla="*/ 31941 h 184213"/>
              <a:gd name="connsiteX9" fmla="*/ 30417 w 228600"/>
              <a:gd name="connsiteY9" fmla="*/ 70676 h 184213"/>
              <a:gd name="connsiteX10" fmla="*/ 9144 w 228600"/>
              <a:gd name="connsiteY10" fmla="*/ 64897 h 184213"/>
              <a:gd name="connsiteX11" fmla="*/ 9144 w 228600"/>
              <a:gd name="connsiteY11" fmla="*/ 65469 h 184213"/>
              <a:gd name="connsiteX12" fmla="*/ 46736 w 228600"/>
              <a:gd name="connsiteY12" fmla="*/ 111061 h 184213"/>
              <a:gd name="connsiteX13" fmla="*/ 34417 w 228600"/>
              <a:gd name="connsiteY13" fmla="*/ 112713 h 184213"/>
              <a:gd name="connsiteX14" fmla="*/ 25590 w 228600"/>
              <a:gd name="connsiteY14" fmla="*/ 111824 h 184213"/>
              <a:gd name="connsiteX15" fmla="*/ 69406 w 228600"/>
              <a:gd name="connsiteY15" fmla="*/ 144145 h 184213"/>
              <a:gd name="connsiteX16" fmla="*/ 11176 w 228600"/>
              <a:gd name="connsiteY16" fmla="*/ 164021 h 184213"/>
              <a:gd name="connsiteX17" fmla="*/ 0 w 228600"/>
              <a:gd name="connsiteY17" fmla="*/ 163386 h 184213"/>
              <a:gd name="connsiteX18" fmla="*/ 71882 w 228600"/>
              <a:gd name="connsiteY18" fmla="*/ 184214 h 184213"/>
              <a:gd name="connsiteX19" fmla="*/ 205359 w 228600"/>
              <a:gd name="connsiteY19" fmla="*/ 51943 h 184213"/>
              <a:gd name="connsiteX20" fmla="*/ 205168 w 228600"/>
              <a:gd name="connsiteY20" fmla="*/ 45974 h 184213"/>
              <a:gd name="connsiteX21" fmla="*/ 228600 w 228600"/>
              <a:gd name="connsiteY21" fmla="*/ 21908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184213">
                <a:moveTo>
                  <a:pt x="228600" y="21781"/>
                </a:moveTo>
                <a:cubicBezTo>
                  <a:pt x="220218" y="25527"/>
                  <a:pt x="211138" y="28004"/>
                  <a:pt x="201613" y="29147"/>
                </a:cubicBezTo>
                <a:cubicBezTo>
                  <a:pt x="211328" y="23368"/>
                  <a:pt x="218757" y="14224"/>
                  <a:pt x="222250" y="3366"/>
                </a:cubicBezTo>
                <a:cubicBezTo>
                  <a:pt x="213170" y="8700"/>
                  <a:pt x="203137" y="12573"/>
                  <a:pt x="192468" y="14669"/>
                </a:cubicBezTo>
                <a:cubicBezTo>
                  <a:pt x="183960" y="5651"/>
                  <a:pt x="171768" y="0"/>
                  <a:pt x="158306" y="0"/>
                </a:cubicBezTo>
                <a:cubicBezTo>
                  <a:pt x="132398" y="0"/>
                  <a:pt x="111379" y="20828"/>
                  <a:pt x="111379" y="46482"/>
                </a:cubicBezTo>
                <a:cubicBezTo>
                  <a:pt x="111379" y="50101"/>
                  <a:pt x="111824" y="53658"/>
                  <a:pt x="112585" y="57087"/>
                </a:cubicBezTo>
                <a:cubicBezTo>
                  <a:pt x="73596" y="55118"/>
                  <a:pt x="39053" y="36576"/>
                  <a:pt x="15939" y="8509"/>
                </a:cubicBezTo>
                <a:cubicBezTo>
                  <a:pt x="11875" y="15367"/>
                  <a:pt x="9589" y="23432"/>
                  <a:pt x="9589" y="31941"/>
                </a:cubicBezTo>
                <a:cubicBezTo>
                  <a:pt x="9589" y="48070"/>
                  <a:pt x="17843" y="62294"/>
                  <a:pt x="30417" y="70676"/>
                </a:cubicBezTo>
                <a:cubicBezTo>
                  <a:pt x="22733" y="70422"/>
                  <a:pt x="15494" y="68326"/>
                  <a:pt x="9144" y="64897"/>
                </a:cubicBezTo>
                <a:lnTo>
                  <a:pt x="9144" y="65469"/>
                </a:lnTo>
                <a:cubicBezTo>
                  <a:pt x="9144" y="88011"/>
                  <a:pt x="25337" y="106807"/>
                  <a:pt x="46736" y="111061"/>
                </a:cubicBezTo>
                <a:cubicBezTo>
                  <a:pt x="42799" y="112141"/>
                  <a:pt x="38671" y="112713"/>
                  <a:pt x="34417" y="112713"/>
                </a:cubicBezTo>
                <a:cubicBezTo>
                  <a:pt x="31369" y="112713"/>
                  <a:pt x="28448" y="112395"/>
                  <a:pt x="25590" y="111824"/>
                </a:cubicBezTo>
                <a:cubicBezTo>
                  <a:pt x="31560" y="130239"/>
                  <a:pt x="48895" y="143700"/>
                  <a:pt x="69406" y="144145"/>
                </a:cubicBezTo>
                <a:cubicBezTo>
                  <a:pt x="53340" y="156591"/>
                  <a:pt x="33147" y="164021"/>
                  <a:pt x="11176" y="164021"/>
                </a:cubicBezTo>
                <a:cubicBezTo>
                  <a:pt x="7366" y="164021"/>
                  <a:pt x="3683" y="163830"/>
                  <a:pt x="0" y="163386"/>
                </a:cubicBezTo>
                <a:cubicBezTo>
                  <a:pt x="20765" y="176530"/>
                  <a:pt x="45403" y="184214"/>
                  <a:pt x="71882" y="184214"/>
                </a:cubicBezTo>
                <a:cubicBezTo>
                  <a:pt x="158115" y="184214"/>
                  <a:pt x="205359" y="113347"/>
                  <a:pt x="205359" y="51943"/>
                </a:cubicBezTo>
                <a:cubicBezTo>
                  <a:pt x="205359" y="49911"/>
                  <a:pt x="205359" y="47943"/>
                  <a:pt x="205168" y="45974"/>
                </a:cubicBezTo>
                <a:cubicBezTo>
                  <a:pt x="214376" y="39497"/>
                  <a:pt x="222314" y="31242"/>
                  <a:pt x="228600" y="21908"/>
                </a:cubicBezTo>
              </a:path>
            </a:pathLst>
          </a:custGeom>
          <a:solidFill>
            <a:srgbClr val="66F58A"/>
          </a:solidFill>
          <a:ln w="6350" cap="flat">
            <a:noFill/>
            <a:prstDash val="solid"/>
            <a:miter/>
          </a:ln>
        </p:spPr>
        <p:txBody>
          <a:bodyPr rtlCol="0" anchor="ctr"/>
          <a:lstStyle/>
          <a:p>
            <a:endParaRPr lang="da-DK"/>
          </a:p>
        </p:txBody>
      </p:sp>
      <p:grpSp>
        <p:nvGrpSpPr>
          <p:cNvPr id="27" name="Gruppe 26">
            <a:extLst>
              <a:ext uri="{FF2B5EF4-FFF2-40B4-BE49-F238E27FC236}">
                <a16:creationId xmlns:a16="http://schemas.microsoft.com/office/drawing/2014/main" id="{B94408EB-0729-DED2-D6A1-4A8D6860206F}"/>
              </a:ext>
            </a:extLst>
          </p:cNvPr>
          <p:cNvGrpSpPr/>
          <p:nvPr/>
        </p:nvGrpSpPr>
        <p:grpSpPr>
          <a:xfrm>
            <a:off x="11197203" y="6196013"/>
            <a:ext cx="228600" cy="228600"/>
            <a:chOff x="11263345" y="5849417"/>
            <a:chExt cx="228600" cy="228600"/>
          </a:xfrm>
        </p:grpSpPr>
        <p:sp>
          <p:nvSpPr>
            <p:cNvPr id="25" name="Kombinationstegning: figur 24">
              <a:hlinkClick r:id="rId6"/>
              <a:extLst>
                <a:ext uri="{FF2B5EF4-FFF2-40B4-BE49-F238E27FC236}">
                  <a16:creationId xmlns:a16="http://schemas.microsoft.com/office/drawing/2014/main" id="{5C338E6B-92B7-EF04-3879-56F1CC8AF8F5}"/>
                </a:ext>
              </a:extLst>
            </p:cNvPr>
            <p:cNvSpPr/>
            <p:nvPr/>
          </p:nvSpPr>
          <p:spPr>
            <a:xfrm>
              <a:off x="11263345" y="5849417"/>
              <a:ext cx="228600" cy="228600"/>
            </a:xfrm>
            <a:custGeom>
              <a:avLst/>
              <a:gdLst>
                <a:gd name="connsiteX0" fmla="*/ 228600 w 228600"/>
                <a:gd name="connsiteY0" fmla="*/ 196850 h 228600"/>
                <a:gd name="connsiteX1" fmla="*/ 196850 w 228600"/>
                <a:gd name="connsiteY1" fmla="*/ 228600 h 228600"/>
                <a:gd name="connsiteX2" fmla="*/ 31750 w 228600"/>
                <a:gd name="connsiteY2" fmla="*/ 228600 h 228600"/>
                <a:gd name="connsiteX3" fmla="*/ 0 w 228600"/>
                <a:gd name="connsiteY3" fmla="*/ 196850 h 228600"/>
                <a:gd name="connsiteX4" fmla="*/ 0 w 228600"/>
                <a:gd name="connsiteY4" fmla="*/ 31750 h 228600"/>
                <a:gd name="connsiteX5" fmla="*/ 31750 w 228600"/>
                <a:gd name="connsiteY5" fmla="*/ 0 h 228600"/>
                <a:gd name="connsiteX6" fmla="*/ 196850 w 228600"/>
                <a:gd name="connsiteY6" fmla="*/ 0 h 228600"/>
                <a:gd name="connsiteX7" fmla="*/ 228600 w 228600"/>
                <a:gd name="connsiteY7" fmla="*/ 31750 h 228600"/>
                <a:gd name="connsiteX8" fmla="*/ 228600 w 228600"/>
                <a:gd name="connsiteY8" fmla="*/ 1968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228600">
                  <a:moveTo>
                    <a:pt x="228600" y="196850"/>
                  </a:moveTo>
                  <a:cubicBezTo>
                    <a:pt x="228600" y="214376"/>
                    <a:pt x="214376" y="228600"/>
                    <a:pt x="196850" y="228600"/>
                  </a:cubicBezTo>
                  <a:lnTo>
                    <a:pt x="31750" y="228600"/>
                  </a:lnTo>
                  <a:cubicBezTo>
                    <a:pt x="14224" y="228600"/>
                    <a:pt x="0" y="214376"/>
                    <a:pt x="0" y="196850"/>
                  </a:cubicBezTo>
                  <a:lnTo>
                    <a:pt x="0" y="31750"/>
                  </a:lnTo>
                  <a:cubicBezTo>
                    <a:pt x="0" y="14224"/>
                    <a:pt x="14224" y="0"/>
                    <a:pt x="31750" y="0"/>
                  </a:cubicBezTo>
                  <a:lnTo>
                    <a:pt x="196850" y="0"/>
                  </a:lnTo>
                  <a:cubicBezTo>
                    <a:pt x="214376" y="0"/>
                    <a:pt x="228600" y="14224"/>
                    <a:pt x="228600" y="31750"/>
                  </a:cubicBezTo>
                  <a:lnTo>
                    <a:pt x="228600" y="196850"/>
                  </a:lnTo>
                  <a:close/>
                </a:path>
              </a:pathLst>
            </a:custGeom>
            <a:solidFill>
              <a:srgbClr val="66F58A"/>
            </a:solidFill>
            <a:ln w="6350" cap="flat">
              <a:noFill/>
              <a:prstDash val="solid"/>
              <a:miter/>
            </a:ln>
          </p:spPr>
          <p:txBody>
            <a:bodyPr rtlCol="0" anchor="ctr"/>
            <a:lstStyle/>
            <a:p>
              <a:endParaRPr lang="da-DK"/>
            </a:p>
          </p:txBody>
        </p:sp>
        <p:sp>
          <p:nvSpPr>
            <p:cNvPr id="26" name="Kombinationstegning: figur 25">
              <a:extLst>
                <a:ext uri="{FF2B5EF4-FFF2-40B4-BE49-F238E27FC236}">
                  <a16:creationId xmlns:a16="http://schemas.microsoft.com/office/drawing/2014/main" id="{714E625B-CCD7-5940-A293-7C3A7C355368}"/>
                </a:ext>
              </a:extLst>
            </p:cNvPr>
            <p:cNvSpPr/>
            <p:nvPr/>
          </p:nvSpPr>
          <p:spPr>
            <a:xfrm>
              <a:off x="11301381" y="5887517"/>
              <a:ext cx="152463" cy="152400"/>
            </a:xfrm>
            <a:custGeom>
              <a:avLst/>
              <a:gdLst>
                <a:gd name="connsiteX0" fmla="*/ 64 w 152463"/>
                <a:gd name="connsiteY0" fmla="*/ 44450 h 152400"/>
                <a:gd name="connsiteX1" fmla="*/ 31814 w 152463"/>
                <a:gd name="connsiteY1" fmla="*/ 44450 h 152400"/>
                <a:gd name="connsiteX2" fmla="*/ 31814 w 152463"/>
                <a:gd name="connsiteY2" fmla="*/ 152400 h 152400"/>
                <a:gd name="connsiteX3" fmla="*/ 64 w 152463"/>
                <a:gd name="connsiteY3" fmla="*/ 152400 h 152400"/>
                <a:gd name="connsiteX4" fmla="*/ 64 w 152463"/>
                <a:gd name="connsiteY4" fmla="*/ 44450 h 152400"/>
                <a:gd name="connsiteX5" fmla="*/ 15811 w 152463"/>
                <a:gd name="connsiteY5" fmla="*/ 31750 h 152400"/>
                <a:gd name="connsiteX6" fmla="*/ 15621 w 152463"/>
                <a:gd name="connsiteY6" fmla="*/ 31750 h 152400"/>
                <a:gd name="connsiteX7" fmla="*/ 0 w 152463"/>
                <a:gd name="connsiteY7" fmla="*/ 15875 h 152400"/>
                <a:gd name="connsiteX8" fmla="*/ 15939 w 152463"/>
                <a:gd name="connsiteY8" fmla="*/ 0 h 152400"/>
                <a:gd name="connsiteX9" fmla="*/ 31750 w 152463"/>
                <a:gd name="connsiteY9" fmla="*/ 15875 h 152400"/>
                <a:gd name="connsiteX10" fmla="*/ 15748 w 152463"/>
                <a:gd name="connsiteY10" fmla="*/ 31750 h 152400"/>
                <a:gd name="connsiteX11" fmla="*/ 152464 w 152463"/>
                <a:gd name="connsiteY11" fmla="*/ 152400 h 152400"/>
                <a:gd name="connsiteX12" fmla="*/ 120714 w 152463"/>
                <a:gd name="connsiteY12" fmla="*/ 152400 h 152400"/>
                <a:gd name="connsiteX13" fmla="*/ 120714 w 152463"/>
                <a:gd name="connsiteY13" fmla="*/ 94615 h 152400"/>
                <a:gd name="connsiteX14" fmla="*/ 100457 w 152463"/>
                <a:gd name="connsiteY14" fmla="*/ 71120 h 152400"/>
                <a:gd name="connsiteX15" fmla="*/ 83249 w 152463"/>
                <a:gd name="connsiteY15" fmla="*/ 83757 h 152400"/>
                <a:gd name="connsiteX16" fmla="*/ 82614 w 152463"/>
                <a:gd name="connsiteY16" fmla="*/ 95250 h 152400"/>
                <a:gd name="connsiteX17" fmla="*/ 82614 w 152463"/>
                <a:gd name="connsiteY17" fmla="*/ 152400 h 152400"/>
                <a:gd name="connsiteX18" fmla="*/ 50864 w 152463"/>
                <a:gd name="connsiteY18" fmla="*/ 152400 h 152400"/>
                <a:gd name="connsiteX19" fmla="*/ 50864 w 152463"/>
                <a:gd name="connsiteY19" fmla="*/ 44450 h 152400"/>
                <a:gd name="connsiteX20" fmla="*/ 82614 w 152463"/>
                <a:gd name="connsiteY20" fmla="*/ 44450 h 152400"/>
                <a:gd name="connsiteX21" fmla="*/ 82614 w 152463"/>
                <a:gd name="connsiteY21" fmla="*/ 61087 h 152400"/>
                <a:gd name="connsiteX22" fmla="*/ 112713 w 152463"/>
                <a:gd name="connsiteY22" fmla="*/ 44450 h 152400"/>
                <a:gd name="connsiteX23" fmla="*/ 152464 w 152463"/>
                <a:gd name="connsiteY23" fmla="*/ 90614 h 152400"/>
                <a:gd name="connsiteX24" fmla="*/ 152464 w 152463"/>
                <a:gd name="connsiteY24" fmla="*/ 152400 h 152400"/>
                <a:gd name="connsiteX25" fmla="*/ 152464 w 152463"/>
                <a:gd name="connsiteY25"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463" h="152400">
                  <a:moveTo>
                    <a:pt x="64" y="44450"/>
                  </a:moveTo>
                  <a:lnTo>
                    <a:pt x="31814" y="44450"/>
                  </a:lnTo>
                  <a:lnTo>
                    <a:pt x="31814" y="152400"/>
                  </a:lnTo>
                  <a:lnTo>
                    <a:pt x="64" y="152400"/>
                  </a:lnTo>
                  <a:lnTo>
                    <a:pt x="64" y="44450"/>
                  </a:lnTo>
                  <a:close/>
                  <a:moveTo>
                    <a:pt x="15811" y="31750"/>
                  </a:moveTo>
                  <a:lnTo>
                    <a:pt x="15621" y="31750"/>
                  </a:lnTo>
                  <a:cubicBezTo>
                    <a:pt x="6160" y="31750"/>
                    <a:pt x="0" y="24701"/>
                    <a:pt x="0" y="15875"/>
                  </a:cubicBezTo>
                  <a:cubicBezTo>
                    <a:pt x="0" y="7049"/>
                    <a:pt x="6286" y="0"/>
                    <a:pt x="15939" y="0"/>
                  </a:cubicBezTo>
                  <a:cubicBezTo>
                    <a:pt x="25590" y="0"/>
                    <a:pt x="31560" y="6858"/>
                    <a:pt x="31750" y="15875"/>
                  </a:cubicBezTo>
                  <a:cubicBezTo>
                    <a:pt x="31750" y="24701"/>
                    <a:pt x="25590" y="31750"/>
                    <a:pt x="15748" y="31750"/>
                  </a:cubicBezTo>
                  <a:close/>
                  <a:moveTo>
                    <a:pt x="152464" y="152400"/>
                  </a:moveTo>
                  <a:lnTo>
                    <a:pt x="120714" y="152400"/>
                  </a:lnTo>
                  <a:lnTo>
                    <a:pt x="120714" y="94615"/>
                  </a:lnTo>
                  <a:cubicBezTo>
                    <a:pt x="120714" y="80645"/>
                    <a:pt x="112903" y="71120"/>
                    <a:pt x="100457" y="71120"/>
                  </a:cubicBezTo>
                  <a:cubicBezTo>
                    <a:pt x="90932" y="71120"/>
                    <a:pt x="85789" y="77533"/>
                    <a:pt x="83249" y="83757"/>
                  </a:cubicBezTo>
                  <a:cubicBezTo>
                    <a:pt x="82360" y="85979"/>
                    <a:pt x="82614" y="92139"/>
                    <a:pt x="82614" y="95250"/>
                  </a:cubicBezTo>
                  <a:lnTo>
                    <a:pt x="82614" y="152400"/>
                  </a:lnTo>
                  <a:lnTo>
                    <a:pt x="50864" y="152400"/>
                  </a:lnTo>
                  <a:lnTo>
                    <a:pt x="50864" y="44450"/>
                  </a:lnTo>
                  <a:lnTo>
                    <a:pt x="82614" y="44450"/>
                  </a:lnTo>
                  <a:lnTo>
                    <a:pt x="82614" y="61087"/>
                  </a:lnTo>
                  <a:cubicBezTo>
                    <a:pt x="87186" y="53975"/>
                    <a:pt x="94361" y="44450"/>
                    <a:pt x="112713" y="44450"/>
                  </a:cubicBezTo>
                  <a:cubicBezTo>
                    <a:pt x="135446" y="44450"/>
                    <a:pt x="152464" y="58738"/>
                    <a:pt x="152464" y="90614"/>
                  </a:cubicBezTo>
                  <a:lnTo>
                    <a:pt x="152464" y="152400"/>
                  </a:lnTo>
                  <a:lnTo>
                    <a:pt x="152464" y="152400"/>
                  </a:lnTo>
                  <a:close/>
                </a:path>
              </a:pathLst>
            </a:custGeom>
            <a:solidFill>
              <a:schemeClr val="accent3"/>
            </a:solidFill>
            <a:ln w="6350" cap="flat">
              <a:noFill/>
              <a:prstDash val="solid"/>
              <a:miter/>
            </a:ln>
          </p:spPr>
          <p:txBody>
            <a:bodyPr rtlCol="0" anchor="ctr"/>
            <a:lstStyle/>
            <a:p>
              <a:endParaRPr lang="da-DK"/>
            </a:p>
          </p:txBody>
        </p:sp>
      </p:grpSp>
      <p:pic>
        <p:nvPicPr>
          <p:cNvPr id="5" name="Graphic 5">
            <a:extLst>
              <a:ext uri="{FF2B5EF4-FFF2-40B4-BE49-F238E27FC236}">
                <a16:creationId xmlns:a16="http://schemas.microsoft.com/office/drawing/2014/main" id="{7728AE3A-F973-C704-2C1B-2B75947693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07099" y="432000"/>
            <a:ext cx="734400" cy="378216"/>
          </a:xfrm>
          <a:prstGeom prst="rect">
            <a:avLst/>
          </a:prstGeom>
        </p:spPr>
      </p:pic>
    </p:spTree>
    <p:extLst>
      <p:ext uri="{BB962C8B-B14F-4D97-AF65-F5344CB8AC3E}">
        <p14:creationId xmlns:p14="http://schemas.microsoft.com/office/powerpoint/2010/main" val="2673571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Forside m. 5.element og billed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F1D378-C302-DCB6-3C41-1A3F78575E5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Pladsholder til billede 8">
            <a:extLst>
              <a:ext uri="{FF2B5EF4-FFF2-40B4-BE49-F238E27FC236}">
                <a16:creationId xmlns:a16="http://schemas.microsoft.com/office/drawing/2014/main" id="{7D5BB556-917B-656B-11D4-702A8DA86F00}"/>
              </a:ext>
            </a:extLst>
          </p:cNvPr>
          <p:cNvSpPr>
            <a:spLocks noGrp="1"/>
          </p:cNvSpPr>
          <p:nvPr>
            <p:ph type="pic" sz="quarter" idx="11" hasCustomPrompt="1"/>
          </p:nvPr>
        </p:nvSpPr>
        <p:spPr>
          <a:xfrm>
            <a:off x="7038976" y="188"/>
            <a:ext cx="5153025" cy="6857813"/>
          </a:xfrm>
          <a:custGeom>
            <a:avLst/>
            <a:gdLst>
              <a:gd name="connsiteX0" fmla="*/ 4108857 w 5153025"/>
              <a:gd name="connsiteY0" fmla="*/ 5 h 6857813"/>
              <a:gd name="connsiteX1" fmla="*/ 4921360 w 5153025"/>
              <a:gd name="connsiteY1" fmla="*/ 63 h 6857813"/>
              <a:gd name="connsiteX2" fmla="*/ 5153025 w 5153025"/>
              <a:gd name="connsiteY2" fmla="*/ 100 h 6857813"/>
              <a:gd name="connsiteX3" fmla="*/ 5153025 w 5153025"/>
              <a:gd name="connsiteY3" fmla="*/ 6857813 h 6857813"/>
              <a:gd name="connsiteX4" fmla="*/ 972867 w 5153025"/>
              <a:gd name="connsiteY4" fmla="*/ 6857813 h 6857813"/>
              <a:gd name="connsiteX5" fmla="*/ 1025766 w 5153025"/>
              <a:gd name="connsiteY5" fmla="*/ 6708186 h 6857813"/>
              <a:gd name="connsiteX6" fmla="*/ 44 w 5153025"/>
              <a:gd name="connsiteY6" fmla="*/ 2325133 h 6857813"/>
              <a:gd name="connsiteX7" fmla="*/ 1923424 w 5153025"/>
              <a:gd name="connsiteY7" fmla="*/ 4746 h 6857813"/>
              <a:gd name="connsiteX8" fmla="*/ 4108857 w 5153025"/>
              <a:gd name="connsiteY8" fmla="*/ 5 h 685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025" h="6857813">
                <a:moveTo>
                  <a:pt x="4108857" y="5"/>
                </a:moveTo>
                <a:cubicBezTo>
                  <a:pt x="4372087" y="-11"/>
                  <a:pt x="4645456" y="20"/>
                  <a:pt x="4921360" y="63"/>
                </a:cubicBezTo>
                <a:lnTo>
                  <a:pt x="5153025" y="100"/>
                </a:lnTo>
                <a:lnTo>
                  <a:pt x="5153025" y="6857813"/>
                </a:lnTo>
                <a:lnTo>
                  <a:pt x="972867" y="6857813"/>
                </a:lnTo>
                <a:lnTo>
                  <a:pt x="1025766" y="6708186"/>
                </a:lnTo>
                <a:cubicBezTo>
                  <a:pt x="1519080" y="5132376"/>
                  <a:pt x="-9437" y="3786642"/>
                  <a:pt x="44" y="2325133"/>
                </a:cubicBezTo>
                <a:cubicBezTo>
                  <a:pt x="9831" y="816479"/>
                  <a:pt x="1439797" y="12456"/>
                  <a:pt x="1923424" y="4746"/>
                </a:cubicBezTo>
                <a:cubicBezTo>
                  <a:pt x="2165238" y="891"/>
                  <a:pt x="3055937" y="68"/>
                  <a:pt x="4108857" y="5"/>
                </a:cubicBezTo>
                <a:close/>
              </a:path>
            </a:pathLst>
          </a:custGeom>
          <a:solidFill>
            <a:schemeClr val="bg2"/>
          </a:solidFill>
        </p:spPr>
        <p:txBody>
          <a:bodyPr wrap="square" tIns="2808000">
            <a:noAutofit/>
          </a:bodyPr>
          <a:lstStyle>
            <a:lvl1pPr marL="0" indent="0" algn="ctr">
              <a:buFontTx/>
              <a:buNone/>
              <a:defRPr sz="1100"/>
            </a:lvl1pPr>
          </a:lstStyle>
          <a:p>
            <a:r>
              <a:rPr lang="da-DK"/>
              <a:t>Indsæt billede</a:t>
            </a:r>
          </a:p>
        </p:txBody>
      </p:sp>
      <p:pic>
        <p:nvPicPr>
          <p:cNvPr id="4" name="Graphic 3">
            <a:extLst>
              <a:ext uri="{FF2B5EF4-FFF2-40B4-BE49-F238E27FC236}">
                <a16:creationId xmlns:a16="http://schemas.microsoft.com/office/drawing/2014/main" id="{605FA9F5-8805-D693-9361-4B7FD08C9CEF}"/>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rcRect/>
          <a:stretch/>
        </p:blipFill>
        <p:spPr>
          <a:xfrm>
            <a:off x="11024213" y="432000"/>
            <a:ext cx="734400" cy="378216"/>
          </a:xfrm>
          <a:prstGeom prst="rect">
            <a:avLst/>
          </a:prstGeom>
        </p:spPr>
      </p:pic>
      <p:sp>
        <p:nvSpPr>
          <p:cNvPr id="6" name="Title 1">
            <a:extLst>
              <a:ext uri="{FF2B5EF4-FFF2-40B4-BE49-F238E27FC236}">
                <a16:creationId xmlns:a16="http://schemas.microsoft.com/office/drawing/2014/main" id="{E1F81E90-3C4F-F11B-8600-6A5996EE19BD}"/>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tx1"/>
                </a:solidFill>
              </a:defRPr>
            </a:lvl1pPr>
          </a:lstStyle>
          <a:p>
            <a:r>
              <a:rPr lang="da-DK"/>
              <a:t>Overskrift</a:t>
            </a:r>
            <a:br>
              <a:rPr lang="da-DK"/>
            </a:br>
            <a:r>
              <a:rPr lang="da-DK"/>
              <a:t>max 2 linjer</a:t>
            </a:r>
          </a:p>
        </p:txBody>
      </p:sp>
      <p:sp>
        <p:nvSpPr>
          <p:cNvPr id="7" name="Subtitle 2">
            <a:extLst>
              <a:ext uri="{FF2B5EF4-FFF2-40B4-BE49-F238E27FC236}">
                <a16:creationId xmlns:a16="http://schemas.microsoft.com/office/drawing/2014/main" id="{75B5DBE7-E11C-CCD3-951D-EAF9B63B441C}"/>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
        <p:nvSpPr>
          <p:cNvPr id="8" name="Slide Number Placeholder 5">
            <a:extLst>
              <a:ext uri="{FF2B5EF4-FFF2-40B4-BE49-F238E27FC236}">
                <a16:creationId xmlns:a16="http://schemas.microsoft.com/office/drawing/2014/main" id="{55B10ECE-09A2-C375-9F9A-E06C6822606F}"/>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13275806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CB8619-3FCC-0EF8-E258-77211AE9EE24}"/>
              </a:ext>
            </a:extLst>
          </p:cNvPr>
          <p:cNvGraphicFramePr>
            <a:graphicFrameLocks noChangeAspect="1"/>
          </p:cNvGraphicFramePr>
          <p:nvPr userDrawn="1">
            <p:custDataLst>
              <p:tags r:id="rId1"/>
            </p:custDataLst>
            <p:extLst>
              <p:ext uri="{D42A27DB-BD31-4B8C-83A1-F6EECF244321}">
                <p14:modId xmlns:p14="http://schemas.microsoft.com/office/powerpoint/2010/main" val="1301439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9" imgH="350" progId="TCLayout.ActiveDocument.1">
                  <p:embed/>
                </p:oleObj>
              </mc:Choice>
              <mc:Fallback>
                <p:oleObj name="think-cell Slide" r:id="rId3" imgW="349" imgH="350" progId="TCLayout.ActiveDocument.1">
                  <p:embed/>
                  <p:pic>
                    <p:nvPicPr>
                      <p:cNvPr id="4" name="Object 3" hidden="1">
                        <a:extLst>
                          <a:ext uri="{FF2B5EF4-FFF2-40B4-BE49-F238E27FC236}">
                            <a16:creationId xmlns:a16="http://schemas.microsoft.com/office/drawing/2014/main" id="{ACCB8619-3FCC-0EF8-E258-77211AE9EE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CA9EE022-1F91-8EF9-007F-7CEE235FD9C2}"/>
              </a:ext>
            </a:extLst>
          </p:cNvPr>
          <p:cNvSpPr>
            <a:spLocks noGrp="1"/>
          </p:cNvSpPr>
          <p:nvPr>
            <p:ph type="title"/>
          </p:nvPr>
        </p:nvSpPr>
        <p:spPr>
          <a:xfrm>
            <a:off x="403200" y="258578"/>
            <a:ext cx="10087200" cy="498598"/>
          </a:xfrm>
          <a:prstGeom prst="rect">
            <a:avLst/>
          </a:prstGeom>
        </p:spPr>
        <p:txBody>
          <a:bodyPr vert="horz" wrap="square" lIns="0" tIns="0" rIns="0" bIns="0" rtlCol="0" anchor="t" anchorCtr="0">
            <a:spAutoFit/>
          </a:bodyPr>
          <a:lstStyle>
            <a:lvl1pPr rtl="0">
              <a:defRPr>
                <a:latin typeface="+mj-lt"/>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10253869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lut">
    <p:bg>
      <p:bgPr>
        <a:solidFill>
          <a:schemeClr val="accent5"/>
        </a:solidFill>
        <a:effectLst/>
      </p:bgPr>
    </p:bg>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6" name="Text Placeholder 8">
            <a:extLst>
              <a:ext uri="{FF2B5EF4-FFF2-40B4-BE49-F238E27FC236}">
                <a16:creationId xmlns:a16="http://schemas.microsoft.com/office/drawing/2014/main" id="{016A8881-4040-3859-B7BA-552F0EA43E67}"/>
              </a:ext>
            </a:extLst>
          </p:cNvPr>
          <p:cNvSpPr>
            <a:spLocks noGrp="1"/>
          </p:cNvSpPr>
          <p:nvPr>
            <p:ph type="body" sz="quarter" idx="12" hasCustomPrompt="1"/>
          </p:nvPr>
        </p:nvSpPr>
        <p:spPr>
          <a:xfrm>
            <a:off x="431800" y="4787900"/>
            <a:ext cx="2832100" cy="1636713"/>
          </a:xfrm>
        </p:spPr>
        <p:txBody>
          <a:bodyPr anchor="b" anchorCtr="0">
            <a:noAutofit/>
          </a:bodyPr>
          <a:lstStyle>
            <a:lvl1pPr marL="14288" indent="0">
              <a:lnSpc>
                <a:spcPts val="1800"/>
              </a:lnSpc>
              <a:spcBef>
                <a:spcPts val="0"/>
              </a:spcBef>
              <a:buFont typeface="Arial" panose="020B0604020202020204" pitchFamily="34" charset="0"/>
              <a:buNone/>
              <a:tabLst/>
              <a:defRPr sz="1400">
                <a:solidFill>
                  <a:schemeClr val="bg1"/>
                </a:solidFill>
              </a:defRPr>
            </a:lvl1pPr>
            <a:lvl2pPr marL="14288" indent="0">
              <a:buFont typeface="Arial" panose="020B0604020202020204" pitchFamily="34" charset="0"/>
              <a:buNone/>
              <a:tabLst/>
              <a:defRPr/>
            </a:lvl2pPr>
            <a:lvl3pPr marL="14288" indent="0">
              <a:buFont typeface="Arial" panose="020B0604020202020204" pitchFamily="34" charset="0"/>
              <a:buNone/>
              <a:tabLst/>
              <a:defRPr/>
            </a:lvl3pPr>
            <a:lvl4pPr marL="14288" indent="0">
              <a:buFont typeface="Arial" panose="020B0604020202020204" pitchFamily="34" charset="0"/>
              <a:buNone/>
              <a:tabLst/>
              <a:defRPr/>
            </a:lvl4pPr>
            <a:lvl5pPr marL="14288" indent="0">
              <a:buFont typeface="Arial" panose="020B0604020202020204" pitchFamily="34" charset="0"/>
              <a:buNone/>
              <a:tabLst/>
              <a:defRPr/>
            </a:lvl5pPr>
          </a:lstStyle>
          <a:p>
            <a:pPr lvl="0"/>
            <a:r>
              <a:rPr lang="da-DK"/>
              <a:t>Kontaktinfo</a:t>
            </a:r>
          </a:p>
        </p:txBody>
      </p:sp>
      <p:grpSp>
        <p:nvGrpSpPr>
          <p:cNvPr id="28" name="Gruppe 27">
            <a:extLst>
              <a:ext uri="{FF2B5EF4-FFF2-40B4-BE49-F238E27FC236}">
                <a16:creationId xmlns:a16="http://schemas.microsoft.com/office/drawing/2014/main" id="{18E6D9E5-C0E1-1058-D232-DF2D340DF068}"/>
              </a:ext>
            </a:extLst>
          </p:cNvPr>
          <p:cNvGrpSpPr/>
          <p:nvPr/>
        </p:nvGrpSpPr>
        <p:grpSpPr>
          <a:xfrm>
            <a:off x="10833681" y="6183249"/>
            <a:ext cx="241300" cy="241364"/>
            <a:chOff x="10052209" y="5843067"/>
            <a:chExt cx="241300" cy="241364"/>
          </a:xfrm>
        </p:grpSpPr>
        <p:sp>
          <p:nvSpPr>
            <p:cNvPr id="22" name="Kombinationstegning: figur 21">
              <a:hlinkClick r:id="rId4"/>
              <a:extLst>
                <a:ext uri="{FF2B5EF4-FFF2-40B4-BE49-F238E27FC236}">
                  <a16:creationId xmlns:a16="http://schemas.microsoft.com/office/drawing/2014/main" id="{C37CEB69-7BD2-9B2B-4D0D-7FD635AC4BAC}"/>
                </a:ext>
              </a:extLst>
            </p:cNvPr>
            <p:cNvSpPr/>
            <p:nvPr/>
          </p:nvSpPr>
          <p:spPr>
            <a:xfrm>
              <a:off x="10052209" y="5843067"/>
              <a:ext cx="241300" cy="241300"/>
            </a:xfrm>
            <a:custGeom>
              <a:avLst/>
              <a:gdLst>
                <a:gd name="connsiteX0" fmla="*/ 120650 w 241300"/>
                <a:gd name="connsiteY0" fmla="*/ 0 h 241300"/>
                <a:gd name="connsiteX1" fmla="*/ 0 w 241300"/>
                <a:gd name="connsiteY1" fmla="*/ 120650 h 241300"/>
                <a:gd name="connsiteX2" fmla="*/ 120650 w 241300"/>
                <a:gd name="connsiteY2" fmla="*/ 241300 h 241300"/>
                <a:gd name="connsiteX3" fmla="*/ 241300 w 241300"/>
                <a:gd name="connsiteY3" fmla="*/ 120650 h 241300"/>
                <a:gd name="connsiteX4" fmla="*/ 120650 w 241300"/>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00" h="241300">
                  <a:moveTo>
                    <a:pt x="120650" y="0"/>
                  </a:moveTo>
                  <a:cubicBezTo>
                    <a:pt x="54039" y="0"/>
                    <a:pt x="0" y="54039"/>
                    <a:pt x="0" y="120650"/>
                  </a:cubicBezTo>
                  <a:cubicBezTo>
                    <a:pt x="0" y="187261"/>
                    <a:pt x="54039" y="241300"/>
                    <a:pt x="120650" y="241300"/>
                  </a:cubicBezTo>
                  <a:cubicBezTo>
                    <a:pt x="187262" y="241300"/>
                    <a:pt x="241300" y="187261"/>
                    <a:pt x="241300" y="120650"/>
                  </a:cubicBezTo>
                  <a:cubicBezTo>
                    <a:pt x="241300" y="54039"/>
                    <a:pt x="187262" y="0"/>
                    <a:pt x="120650" y="0"/>
                  </a:cubicBezTo>
                  <a:close/>
                </a:path>
              </a:pathLst>
            </a:custGeom>
            <a:solidFill>
              <a:srgbClr val="66F58A"/>
            </a:solidFill>
            <a:ln w="6350" cap="flat">
              <a:noFill/>
              <a:prstDash val="solid"/>
              <a:miter/>
            </a:ln>
          </p:spPr>
          <p:txBody>
            <a:bodyPr rtlCol="0" anchor="ctr"/>
            <a:lstStyle/>
            <a:p>
              <a:endParaRPr lang="da-DK"/>
            </a:p>
          </p:txBody>
        </p:sp>
        <p:sp>
          <p:nvSpPr>
            <p:cNvPr id="23" name="Kombinationstegning: figur 22">
              <a:extLst>
                <a:ext uri="{FF2B5EF4-FFF2-40B4-BE49-F238E27FC236}">
                  <a16:creationId xmlns:a16="http://schemas.microsoft.com/office/drawing/2014/main" id="{B410E2D7-E062-3D1E-1437-1AD9E475F7AD}"/>
                </a:ext>
              </a:extLst>
            </p:cNvPr>
            <p:cNvSpPr/>
            <p:nvPr/>
          </p:nvSpPr>
          <p:spPr>
            <a:xfrm>
              <a:off x="10124980" y="5892598"/>
              <a:ext cx="100647" cy="191833"/>
            </a:xfrm>
            <a:custGeom>
              <a:avLst/>
              <a:gdLst>
                <a:gd name="connsiteX0" fmla="*/ 64199 w 100647"/>
                <a:gd name="connsiteY0" fmla="*/ 103124 h 191833"/>
                <a:gd name="connsiteX1" fmla="*/ 95440 w 100647"/>
                <a:gd name="connsiteY1" fmla="*/ 103124 h 191833"/>
                <a:gd name="connsiteX2" fmla="*/ 100330 w 100647"/>
                <a:gd name="connsiteY2" fmla="*/ 71437 h 191833"/>
                <a:gd name="connsiteX3" fmla="*/ 64199 w 100647"/>
                <a:gd name="connsiteY3" fmla="*/ 71437 h 191833"/>
                <a:gd name="connsiteX4" fmla="*/ 64199 w 100647"/>
                <a:gd name="connsiteY4" fmla="*/ 54102 h 191833"/>
                <a:gd name="connsiteX5" fmla="*/ 80835 w 100647"/>
                <a:gd name="connsiteY5" fmla="*/ 29210 h 191833"/>
                <a:gd name="connsiteX6" fmla="*/ 100647 w 100647"/>
                <a:gd name="connsiteY6" fmla="*/ 29210 h 191833"/>
                <a:gd name="connsiteX7" fmla="*/ 100647 w 100647"/>
                <a:gd name="connsiteY7" fmla="*/ 1524 h 191833"/>
                <a:gd name="connsiteX8" fmla="*/ 75882 w 100647"/>
                <a:gd name="connsiteY8" fmla="*/ 0 h 191833"/>
                <a:gd name="connsiteX9" fmla="*/ 29845 w 100647"/>
                <a:gd name="connsiteY9" fmla="*/ 50292 h 191833"/>
                <a:gd name="connsiteX10" fmla="*/ 29845 w 100647"/>
                <a:gd name="connsiteY10" fmla="*/ 71374 h 191833"/>
                <a:gd name="connsiteX11" fmla="*/ 0 w 100647"/>
                <a:gd name="connsiteY11" fmla="*/ 71374 h 191833"/>
                <a:gd name="connsiteX12" fmla="*/ 0 w 100647"/>
                <a:gd name="connsiteY12" fmla="*/ 103124 h 191833"/>
                <a:gd name="connsiteX13" fmla="*/ 29845 w 100647"/>
                <a:gd name="connsiteY13" fmla="*/ 103124 h 191833"/>
                <a:gd name="connsiteX14" fmla="*/ 29845 w 100647"/>
                <a:gd name="connsiteY14" fmla="*/ 190309 h 191833"/>
                <a:gd name="connsiteX15" fmla="*/ 47879 w 100647"/>
                <a:gd name="connsiteY15" fmla="*/ 191834 h 191833"/>
                <a:gd name="connsiteX16" fmla="*/ 64199 w 100647"/>
                <a:gd name="connsiteY16" fmla="*/ 190627 h 191833"/>
                <a:gd name="connsiteX17" fmla="*/ 64199 w 100647"/>
                <a:gd name="connsiteY17" fmla="*/ 103187 h 19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647" h="191833">
                  <a:moveTo>
                    <a:pt x="64199" y="103124"/>
                  </a:moveTo>
                  <a:lnTo>
                    <a:pt x="95440" y="103124"/>
                  </a:lnTo>
                  <a:lnTo>
                    <a:pt x="100330" y="71437"/>
                  </a:lnTo>
                  <a:lnTo>
                    <a:pt x="64199" y="71437"/>
                  </a:lnTo>
                  <a:lnTo>
                    <a:pt x="64199" y="54102"/>
                  </a:lnTo>
                  <a:cubicBezTo>
                    <a:pt x="64199" y="40894"/>
                    <a:pt x="68516" y="29210"/>
                    <a:pt x="80835" y="29210"/>
                  </a:cubicBezTo>
                  <a:lnTo>
                    <a:pt x="100647" y="29210"/>
                  </a:lnTo>
                  <a:lnTo>
                    <a:pt x="100647" y="1524"/>
                  </a:lnTo>
                  <a:cubicBezTo>
                    <a:pt x="97155" y="1079"/>
                    <a:pt x="89789" y="0"/>
                    <a:pt x="75882" y="0"/>
                  </a:cubicBezTo>
                  <a:cubicBezTo>
                    <a:pt x="46863" y="0"/>
                    <a:pt x="29845" y="15303"/>
                    <a:pt x="29845" y="50292"/>
                  </a:cubicBezTo>
                  <a:lnTo>
                    <a:pt x="29845" y="71374"/>
                  </a:lnTo>
                  <a:lnTo>
                    <a:pt x="0" y="71374"/>
                  </a:lnTo>
                  <a:lnTo>
                    <a:pt x="0" y="103124"/>
                  </a:lnTo>
                  <a:lnTo>
                    <a:pt x="29845" y="103124"/>
                  </a:lnTo>
                  <a:lnTo>
                    <a:pt x="29845" y="190309"/>
                  </a:lnTo>
                  <a:cubicBezTo>
                    <a:pt x="35750" y="191198"/>
                    <a:pt x="41720" y="191834"/>
                    <a:pt x="47879" y="191834"/>
                  </a:cubicBezTo>
                  <a:cubicBezTo>
                    <a:pt x="53467" y="191834"/>
                    <a:pt x="58864" y="191325"/>
                    <a:pt x="64199" y="190627"/>
                  </a:cubicBezTo>
                  <a:lnTo>
                    <a:pt x="64199" y="103187"/>
                  </a:lnTo>
                  <a:close/>
                </a:path>
              </a:pathLst>
            </a:custGeom>
            <a:solidFill>
              <a:schemeClr val="accent3"/>
            </a:solidFill>
            <a:ln w="6350" cap="flat">
              <a:noFill/>
              <a:prstDash val="solid"/>
              <a:miter/>
            </a:ln>
          </p:spPr>
          <p:txBody>
            <a:bodyPr rtlCol="0" anchor="ctr"/>
            <a:lstStyle/>
            <a:p>
              <a:endParaRPr lang="da-DK"/>
            </a:p>
          </p:txBody>
        </p:sp>
      </p:grpSp>
      <p:sp>
        <p:nvSpPr>
          <p:cNvPr id="24" name="Kombinationstegning: figur 23">
            <a:hlinkClick r:id="rId5"/>
            <a:extLst>
              <a:ext uri="{FF2B5EF4-FFF2-40B4-BE49-F238E27FC236}">
                <a16:creationId xmlns:a16="http://schemas.microsoft.com/office/drawing/2014/main" id="{4F904380-2BF0-4EDA-06BD-416E5752E399}"/>
              </a:ext>
            </a:extLst>
          </p:cNvPr>
          <p:cNvSpPr/>
          <p:nvPr/>
        </p:nvSpPr>
        <p:spPr>
          <a:xfrm>
            <a:off x="11548025" y="6253327"/>
            <a:ext cx="228600" cy="184213"/>
          </a:xfrm>
          <a:custGeom>
            <a:avLst/>
            <a:gdLst>
              <a:gd name="connsiteX0" fmla="*/ 228600 w 228600"/>
              <a:gd name="connsiteY0" fmla="*/ 21781 h 184213"/>
              <a:gd name="connsiteX1" fmla="*/ 201613 w 228600"/>
              <a:gd name="connsiteY1" fmla="*/ 29147 h 184213"/>
              <a:gd name="connsiteX2" fmla="*/ 222250 w 228600"/>
              <a:gd name="connsiteY2" fmla="*/ 3366 h 184213"/>
              <a:gd name="connsiteX3" fmla="*/ 192468 w 228600"/>
              <a:gd name="connsiteY3" fmla="*/ 14669 h 184213"/>
              <a:gd name="connsiteX4" fmla="*/ 158306 w 228600"/>
              <a:gd name="connsiteY4" fmla="*/ 0 h 184213"/>
              <a:gd name="connsiteX5" fmla="*/ 111379 w 228600"/>
              <a:gd name="connsiteY5" fmla="*/ 46482 h 184213"/>
              <a:gd name="connsiteX6" fmla="*/ 112585 w 228600"/>
              <a:gd name="connsiteY6" fmla="*/ 57087 h 184213"/>
              <a:gd name="connsiteX7" fmla="*/ 15939 w 228600"/>
              <a:gd name="connsiteY7" fmla="*/ 8509 h 184213"/>
              <a:gd name="connsiteX8" fmla="*/ 9589 w 228600"/>
              <a:gd name="connsiteY8" fmla="*/ 31941 h 184213"/>
              <a:gd name="connsiteX9" fmla="*/ 30417 w 228600"/>
              <a:gd name="connsiteY9" fmla="*/ 70676 h 184213"/>
              <a:gd name="connsiteX10" fmla="*/ 9144 w 228600"/>
              <a:gd name="connsiteY10" fmla="*/ 64897 h 184213"/>
              <a:gd name="connsiteX11" fmla="*/ 9144 w 228600"/>
              <a:gd name="connsiteY11" fmla="*/ 65469 h 184213"/>
              <a:gd name="connsiteX12" fmla="*/ 46736 w 228600"/>
              <a:gd name="connsiteY12" fmla="*/ 111061 h 184213"/>
              <a:gd name="connsiteX13" fmla="*/ 34417 w 228600"/>
              <a:gd name="connsiteY13" fmla="*/ 112713 h 184213"/>
              <a:gd name="connsiteX14" fmla="*/ 25590 w 228600"/>
              <a:gd name="connsiteY14" fmla="*/ 111824 h 184213"/>
              <a:gd name="connsiteX15" fmla="*/ 69406 w 228600"/>
              <a:gd name="connsiteY15" fmla="*/ 144145 h 184213"/>
              <a:gd name="connsiteX16" fmla="*/ 11176 w 228600"/>
              <a:gd name="connsiteY16" fmla="*/ 164021 h 184213"/>
              <a:gd name="connsiteX17" fmla="*/ 0 w 228600"/>
              <a:gd name="connsiteY17" fmla="*/ 163386 h 184213"/>
              <a:gd name="connsiteX18" fmla="*/ 71882 w 228600"/>
              <a:gd name="connsiteY18" fmla="*/ 184214 h 184213"/>
              <a:gd name="connsiteX19" fmla="*/ 205359 w 228600"/>
              <a:gd name="connsiteY19" fmla="*/ 51943 h 184213"/>
              <a:gd name="connsiteX20" fmla="*/ 205168 w 228600"/>
              <a:gd name="connsiteY20" fmla="*/ 45974 h 184213"/>
              <a:gd name="connsiteX21" fmla="*/ 228600 w 228600"/>
              <a:gd name="connsiteY21" fmla="*/ 21908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184213">
                <a:moveTo>
                  <a:pt x="228600" y="21781"/>
                </a:moveTo>
                <a:cubicBezTo>
                  <a:pt x="220218" y="25527"/>
                  <a:pt x="211138" y="28004"/>
                  <a:pt x="201613" y="29147"/>
                </a:cubicBezTo>
                <a:cubicBezTo>
                  <a:pt x="211328" y="23368"/>
                  <a:pt x="218757" y="14224"/>
                  <a:pt x="222250" y="3366"/>
                </a:cubicBezTo>
                <a:cubicBezTo>
                  <a:pt x="213170" y="8700"/>
                  <a:pt x="203137" y="12573"/>
                  <a:pt x="192468" y="14669"/>
                </a:cubicBezTo>
                <a:cubicBezTo>
                  <a:pt x="183960" y="5651"/>
                  <a:pt x="171768" y="0"/>
                  <a:pt x="158306" y="0"/>
                </a:cubicBezTo>
                <a:cubicBezTo>
                  <a:pt x="132398" y="0"/>
                  <a:pt x="111379" y="20828"/>
                  <a:pt x="111379" y="46482"/>
                </a:cubicBezTo>
                <a:cubicBezTo>
                  <a:pt x="111379" y="50101"/>
                  <a:pt x="111824" y="53658"/>
                  <a:pt x="112585" y="57087"/>
                </a:cubicBezTo>
                <a:cubicBezTo>
                  <a:pt x="73596" y="55118"/>
                  <a:pt x="39053" y="36576"/>
                  <a:pt x="15939" y="8509"/>
                </a:cubicBezTo>
                <a:cubicBezTo>
                  <a:pt x="11875" y="15367"/>
                  <a:pt x="9589" y="23432"/>
                  <a:pt x="9589" y="31941"/>
                </a:cubicBezTo>
                <a:cubicBezTo>
                  <a:pt x="9589" y="48070"/>
                  <a:pt x="17843" y="62294"/>
                  <a:pt x="30417" y="70676"/>
                </a:cubicBezTo>
                <a:cubicBezTo>
                  <a:pt x="22733" y="70422"/>
                  <a:pt x="15494" y="68326"/>
                  <a:pt x="9144" y="64897"/>
                </a:cubicBezTo>
                <a:lnTo>
                  <a:pt x="9144" y="65469"/>
                </a:lnTo>
                <a:cubicBezTo>
                  <a:pt x="9144" y="88011"/>
                  <a:pt x="25337" y="106807"/>
                  <a:pt x="46736" y="111061"/>
                </a:cubicBezTo>
                <a:cubicBezTo>
                  <a:pt x="42799" y="112141"/>
                  <a:pt x="38671" y="112713"/>
                  <a:pt x="34417" y="112713"/>
                </a:cubicBezTo>
                <a:cubicBezTo>
                  <a:pt x="31369" y="112713"/>
                  <a:pt x="28448" y="112395"/>
                  <a:pt x="25590" y="111824"/>
                </a:cubicBezTo>
                <a:cubicBezTo>
                  <a:pt x="31560" y="130239"/>
                  <a:pt x="48895" y="143700"/>
                  <a:pt x="69406" y="144145"/>
                </a:cubicBezTo>
                <a:cubicBezTo>
                  <a:pt x="53340" y="156591"/>
                  <a:pt x="33147" y="164021"/>
                  <a:pt x="11176" y="164021"/>
                </a:cubicBezTo>
                <a:cubicBezTo>
                  <a:pt x="7366" y="164021"/>
                  <a:pt x="3683" y="163830"/>
                  <a:pt x="0" y="163386"/>
                </a:cubicBezTo>
                <a:cubicBezTo>
                  <a:pt x="20765" y="176530"/>
                  <a:pt x="45403" y="184214"/>
                  <a:pt x="71882" y="184214"/>
                </a:cubicBezTo>
                <a:cubicBezTo>
                  <a:pt x="158115" y="184214"/>
                  <a:pt x="205359" y="113347"/>
                  <a:pt x="205359" y="51943"/>
                </a:cubicBezTo>
                <a:cubicBezTo>
                  <a:pt x="205359" y="49911"/>
                  <a:pt x="205359" y="47943"/>
                  <a:pt x="205168" y="45974"/>
                </a:cubicBezTo>
                <a:cubicBezTo>
                  <a:pt x="214376" y="39497"/>
                  <a:pt x="222314" y="31242"/>
                  <a:pt x="228600" y="21908"/>
                </a:cubicBezTo>
              </a:path>
            </a:pathLst>
          </a:custGeom>
          <a:solidFill>
            <a:srgbClr val="66F58A"/>
          </a:solidFill>
          <a:ln w="6350" cap="flat">
            <a:noFill/>
            <a:prstDash val="solid"/>
            <a:miter/>
          </a:ln>
        </p:spPr>
        <p:txBody>
          <a:bodyPr rtlCol="0" anchor="ctr"/>
          <a:lstStyle/>
          <a:p>
            <a:endParaRPr lang="da-DK"/>
          </a:p>
        </p:txBody>
      </p:sp>
      <p:grpSp>
        <p:nvGrpSpPr>
          <p:cNvPr id="27" name="Gruppe 26">
            <a:extLst>
              <a:ext uri="{FF2B5EF4-FFF2-40B4-BE49-F238E27FC236}">
                <a16:creationId xmlns:a16="http://schemas.microsoft.com/office/drawing/2014/main" id="{B94408EB-0729-DED2-D6A1-4A8D6860206F}"/>
              </a:ext>
            </a:extLst>
          </p:cNvPr>
          <p:cNvGrpSpPr/>
          <p:nvPr/>
        </p:nvGrpSpPr>
        <p:grpSpPr>
          <a:xfrm>
            <a:off x="11197203" y="6196013"/>
            <a:ext cx="228600" cy="228600"/>
            <a:chOff x="11263345" y="5849417"/>
            <a:chExt cx="228600" cy="228600"/>
          </a:xfrm>
        </p:grpSpPr>
        <p:sp>
          <p:nvSpPr>
            <p:cNvPr id="25" name="Kombinationstegning: figur 24">
              <a:hlinkClick r:id="rId6"/>
              <a:extLst>
                <a:ext uri="{FF2B5EF4-FFF2-40B4-BE49-F238E27FC236}">
                  <a16:creationId xmlns:a16="http://schemas.microsoft.com/office/drawing/2014/main" id="{5C338E6B-92B7-EF04-3879-56F1CC8AF8F5}"/>
                </a:ext>
              </a:extLst>
            </p:cNvPr>
            <p:cNvSpPr/>
            <p:nvPr/>
          </p:nvSpPr>
          <p:spPr>
            <a:xfrm>
              <a:off x="11263345" y="5849417"/>
              <a:ext cx="228600" cy="228600"/>
            </a:xfrm>
            <a:custGeom>
              <a:avLst/>
              <a:gdLst>
                <a:gd name="connsiteX0" fmla="*/ 228600 w 228600"/>
                <a:gd name="connsiteY0" fmla="*/ 196850 h 228600"/>
                <a:gd name="connsiteX1" fmla="*/ 196850 w 228600"/>
                <a:gd name="connsiteY1" fmla="*/ 228600 h 228600"/>
                <a:gd name="connsiteX2" fmla="*/ 31750 w 228600"/>
                <a:gd name="connsiteY2" fmla="*/ 228600 h 228600"/>
                <a:gd name="connsiteX3" fmla="*/ 0 w 228600"/>
                <a:gd name="connsiteY3" fmla="*/ 196850 h 228600"/>
                <a:gd name="connsiteX4" fmla="*/ 0 w 228600"/>
                <a:gd name="connsiteY4" fmla="*/ 31750 h 228600"/>
                <a:gd name="connsiteX5" fmla="*/ 31750 w 228600"/>
                <a:gd name="connsiteY5" fmla="*/ 0 h 228600"/>
                <a:gd name="connsiteX6" fmla="*/ 196850 w 228600"/>
                <a:gd name="connsiteY6" fmla="*/ 0 h 228600"/>
                <a:gd name="connsiteX7" fmla="*/ 228600 w 228600"/>
                <a:gd name="connsiteY7" fmla="*/ 31750 h 228600"/>
                <a:gd name="connsiteX8" fmla="*/ 228600 w 228600"/>
                <a:gd name="connsiteY8" fmla="*/ 1968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228600">
                  <a:moveTo>
                    <a:pt x="228600" y="196850"/>
                  </a:moveTo>
                  <a:cubicBezTo>
                    <a:pt x="228600" y="214376"/>
                    <a:pt x="214376" y="228600"/>
                    <a:pt x="196850" y="228600"/>
                  </a:cubicBezTo>
                  <a:lnTo>
                    <a:pt x="31750" y="228600"/>
                  </a:lnTo>
                  <a:cubicBezTo>
                    <a:pt x="14224" y="228600"/>
                    <a:pt x="0" y="214376"/>
                    <a:pt x="0" y="196850"/>
                  </a:cubicBezTo>
                  <a:lnTo>
                    <a:pt x="0" y="31750"/>
                  </a:lnTo>
                  <a:cubicBezTo>
                    <a:pt x="0" y="14224"/>
                    <a:pt x="14224" y="0"/>
                    <a:pt x="31750" y="0"/>
                  </a:cubicBezTo>
                  <a:lnTo>
                    <a:pt x="196850" y="0"/>
                  </a:lnTo>
                  <a:cubicBezTo>
                    <a:pt x="214376" y="0"/>
                    <a:pt x="228600" y="14224"/>
                    <a:pt x="228600" y="31750"/>
                  </a:cubicBezTo>
                  <a:lnTo>
                    <a:pt x="228600" y="196850"/>
                  </a:lnTo>
                  <a:close/>
                </a:path>
              </a:pathLst>
            </a:custGeom>
            <a:solidFill>
              <a:srgbClr val="66F58A"/>
            </a:solidFill>
            <a:ln w="6350" cap="flat">
              <a:noFill/>
              <a:prstDash val="solid"/>
              <a:miter/>
            </a:ln>
          </p:spPr>
          <p:txBody>
            <a:bodyPr rtlCol="0" anchor="ctr"/>
            <a:lstStyle/>
            <a:p>
              <a:endParaRPr lang="da-DK"/>
            </a:p>
          </p:txBody>
        </p:sp>
        <p:sp>
          <p:nvSpPr>
            <p:cNvPr id="26" name="Kombinationstegning: figur 25">
              <a:extLst>
                <a:ext uri="{FF2B5EF4-FFF2-40B4-BE49-F238E27FC236}">
                  <a16:creationId xmlns:a16="http://schemas.microsoft.com/office/drawing/2014/main" id="{714E625B-CCD7-5940-A293-7C3A7C355368}"/>
                </a:ext>
              </a:extLst>
            </p:cNvPr>
            <p:cNvSpPr/>
            <p:nvPr/>
          </p:nvSpPr>
          <p:spPr>
            <a:xfrm>
              <a:off x="11301381" y="5887517"/>
              <a:ext cx="152463" cy="152400"/>
            </a:xfrm>
            <a:custGeom>
              <a:avLst/>
              <a:gdLst>
                <a:gd name="connsiteX0" fmla="*/ 64 w 152463"/>
                <a:gd name="connsiteY0" fmla="*/ 44450 h 152400"/>
                <a:gd name="connsiteX1" fmla="*/ 31814 w 152463"/>
                <a:gd name="connsiteY1" fmla="*/ 44450 h 152400"/>
                <a:gd name="connsiteX2" fmla="*/ 31814 w 152463"/>
                <a:gd name="connsiteY2" fmla="*/ 152400 h 152400"/>
                <a:gd name="connsiteX3" fmla="*/ 64 w 152463"/>
                <a:gd name="connsiteY3" fmla="*/ 152400 h 152400"/>
                <a:gd name="connsiteX4" fmla="*/ 64 w 152463"/>
                <a:gd name="connsiteY4" fmla="*/ 44450 h 152400"/>
                <a:gd name="connsiteX5" fmla="*/ 15811 w 152463"/>
                <a:gd name="connsiteY5" fmla="*/ 31750 h 152400"/>
                <a:gd name="connsiteX6" fmla="*/ 15621 w 152463"/>
                <a:gd name="connsiteY6" fmla="*/ 31750 h 152400"/>
                <a:gd name="connsiteX7" fmla="*/ 0 w 152463"/>
                <a:gd name="connsiteY7" fmla="*/ 15875 h 152400"/>
                <a:gd name="connsiteX8" fmla="*/ 15939 w 152463"/>
                <a:gd name="connsiteY8" fmla="*/ 0 h 152400"/>
                <a:gd name="connsiteX9" fmla="*/ 31750 w 152463"/>
                <a:gd name="connsiteY9" fmla="*/ 15875 h 152400"/>
                <a:gd name="connsiteX10" fmla="*/ 15748 w 152463"/>
                <a:gd name="connsiteY10" fmla="*/ 31750 h 152400"/>
                <a:gd name="connsiteX11" fmla="*/ 152464 w 152463"/>
                <a:gd name="connsiteY11" fmla="*/ 152400 h 152400"/>
                <a:gd name="connsiteX12" fmla="*/ 120714 w 152463"/>
                <a:gd name="connsiteY12" fmla="*/ 152400 h 152400"/>
                <a:gd name="connsiteX13" fmla="*/ 120714 w 152463"/>
                <a:gd name="connsiteY13" fmla="*/ 94615 h 152400"/>
                <a:gd name="connsiteX14" fmla="*/ 100457 w 152463"/>
                <a:gd name="connsiteY14" fmla="*/ 71120 h 152400"/>
                <a:gd name="connsiteX15" fmla="*/ 83249 w 152463"/>
                <a:gd name="connsiteY15" fmla="*/ 83757 h 152400"/>
                <a:gd name="connsiteX16" fmla="*/ 82614 w 152463"/>
                <a:gd name="connsiteY16" fmla="*/ 95250 h 152400"/>
                <a:gd name="connsiteX17" fmla="*/ 82614 w 152463"/>
                <a:gd name="connsiteY17" fmla="*/ 152400 h 152400"/>
                <a:gd name="connsiteX18" fmla="*/ 50864 w 152463"/>
                <a:gd name="connsiteY18" fmla="*/ 152400 h 152400"/>
                <a:gd name="connsiteX19" fmla="*/ 50864 w 152463"/>
                <a:gd name="connsiteY19" fmla="*/ 44450 h 152400"/>
                <a:gd name="connsiteX20" fmla="*/ 82614 w 152463"/>
                <a:gd name="connsiteY20" fmla="*/ 44450 h 152400"/>
                <a:gd name="connsiteX21" fmla="*/ 82614 w 152463"/>
                <a:gd name="connsiteY21" fmla="*/ 61087 h 152400"/>
                <a:gd name="connsiteX22" fmla="*/ 112713 w 152463"/>
                <a:gd name="connsiteY22" fmla="*/ 44450 h 152400"/>
                <a:gd name="connsiteX23" fmla="*/ 152464 w 152463"/>
                <a:gd name="connsiteY23" fmla="*/ 90614 h 152400"/>
                <a:gd name="connsiteX24" fmla="*/ 152464 w 152463"/>
                <a:gd name="connsiteY24" fmla="*/ 152400 h 152400"/>
                <a:gd name="connsiteX25" fmla="*/ 152464 w 152463"/>
                <a:gd name="connsiteY25"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463" h="152400">
                  <a:moveTo>
                    <a:pt x="64" y="44450"/>
                  </a:moveTo>
                  <a:lnTo>
                    <a:pt x="31814" y="44450"/>
                  </a:lnTo>
                  <a:lnTo>
                    <a:pt x="31814" y="152400"/>
                  </a:lnTo>
                  <a:lnTo>
                    <a:pt x="64" y="152400"/>
                  </a:lnTo>
                  <a:lnTo>
                    <a:pt x="64" y="44450"/>
                  </a:lnTo>
                  <a:close/>
                  <a:moveTo>
                    <a:pt x="15811" y="31750"/>
                  </a:moveTo>
                  <a:lnTo>
                    <a:pt x="15621" y="31750"/>
                  </a:lnTo>
                  <a:cubicBezTo>
                    <a:pt x="6160" y="31750"/>
                    <a:pt x="0" y="24701"/>
                    <a:pt x="0" y="15875"/>
                  </a:cubicBezTo>
                  <a:cubicBezTo>
                    <a:pt x="0" y="7049"/>
                    <a:pt x="6286" y="0"/>
                    <a:pt x="15939" y="0"/>
                  </a:cubicBezTo>
                  <a:cubicBezTo>
                    <a:pt x="25590" y="0"/>
                    <a:pt x="31560" y="6858"/>
                    <a:pt x="31750" y="15875"/>
                  </a:cubicBezTo>
                  <a:cubicBezTo>
                    <a:pt x="31750" y="24701"/>
                    <a:pt x="25590" y="31750"/>
                    <a:pt x="15748" y="31750"/>
                  </a:cubicBezTo>
                  <a:close/>
                  <a:moveTo>
                    <a:pt x="152464" y="152400"/>
                  </a:moveTo>
                  <a:lnTo>
                    <a:pt x="120714" y="152400"/>
                  </a:lnTo>
                  <a:lnTo>
                    <a:pt x="120714" y="94615"/>
                  </a:lnTo>
                  <a:cubicBezTo>
                    <a:pt x="120714" y="80645"/>
                    <a:pt x="112903" y="71120"/>
                    <a:pt x="100457" y="71120"/>
                  </a:cubicBezTo>
                  <a:cubicBezTo>
                    <a:pt x="90932" y="71120"/>
                    <a:pt x="85789" y="77533"/>
                    <a:pt x="83249" y="83757"/>
                  </a:cubicBezTo>
                  <a:cubicBezTo>
                    <a:pt x="82360" y="85979"/>
                    <a:pt x="82614" y="92139"/>
                    <a:pt x="82614" y="95250"/>
                  </a:cubicBezTo>
                  <a:lnTo>
                    <a:pt x="82614" y="152400"/>
                  </a:lnTo>
                  <a:lnTo>
                    <a:pt x="50864" y="152400"/>
                  </a:lnTo>
                  <a:lnTo>
                    <a:pt x="50864" y="44450"/>
                  </a:lnTo>
                  <a:lnTo>
                    <a:pt x="82614" y="44450"/>
                  </a:lnTo>
                  <a:lnTo>
                    <a:pt x="82614" y="61087"/>
                  </a:lnTo>
                  <a:cubicBezTo>
                    <a:pt x="87186" y="53975"/>
                    <a:pt x="94361" y="44450"/>
                    <a:pt x="112713" y="44450"/>
                  </a:cubicBezTo>
                  <a:cubicBezTo>
                    <a:pt x="135446" y="44450"/>
                    <a:pt x="152464" y="58738"/>
                    <a:pt x="152464" y="90614"/>
                  </a:cubicBezTo>
                  <a:lnTo>
                    <a:pt x="152464" y="152400"/>
                  </a:lnTo>
                  <a:lnTo>
                    <a:pt x="152464" y="152400"/>
                  </a:lnTo>
                  <a:close/>
                </a:path>
              </a:pathLst>
            </a:custGeom>
            <a:solidFill>
              <a:schemeClr val="accent3"/>
            </a:solidFill>
            <a:ln w="6350" cap="flat">
              <a:noFill/>
              <a:prstDash val="solid"/>
              <a:miter/>
            </a:ln>
          </p:spPr>
          <p:txBody>
            <a:bodyPr rtlCol="0" anchor="ctr"/>
            <a:lstStyle/>
            <a:p>
              <a:endParaRPr lang="da-DK"/>
            </a:p>
          </p:txBody>
        </p:sp>
      </p:grpSp>
      <p:sp>
        <p:nvSpPr>
          <p:cNvPr id="4" name="Pladsholder til billede 3">
            <a:extLst>
              <a:ext uri="{FF2B5EF4-FFF2-40B4-BE49-F238E27FC236}">
                <a16:creationId xmlns:a16="http://schemas.microsoft.com/office/drawing/2014/main" id="{79E02C25-C0E9-3E41-C33B-402FF44FEC2F}"/>
              </a:ext>
            </a:extLst>
          </p:cNvPr>
          <p:cNvSpPr>
            <a:spLocks noGrp="1" noChangeAspect="1"/>
          </p:cNvSpPr>
          <p:nvPr>
            <p:ph type="pic" sz="quarter" idx="13" hasCustomPrompt="1"/>
          </p:nvPr>
        </p:nvSpPr>
        <p:spPr>
          <a:xfrm rot="10800000">
            <a:off x="4253076" y="3605440"/>
            <a:ext cx="2832100" cy="2832100"/>
          </a:xfrm>
          <a:prstGeom prst="teardrop">
            <a:avLst/>
          </a:prstGeom>
          <a:blipFill dpi="0" rotWithShape="0">
            <a:blip r:embed="rId7" cstate="screen">
              <a:extLst>
                <a:ext uri="{28A0092B-C50C-407E-A947-70E740481C1C}">
                  <a14:useLocalDpi xmlns:a14="http://schemas.microsoft.com/office/drawing/2010/main"/>
                </a:ext>
              </a:extLst>
            </a:blip>
            <a:srcRect/>
            <a:stretch>
              <a:fillRect t="-20316" r="-20866"/>
            </a:stretch>
          </a:blipFill>
        </p:spPr>
        <p:txBody>
          <a:bodyPr wrap="square"/>
          <a:lstStyle/>
          <a:p>
            <a:r>
              <a:rPr lang="da-DK"/>
              <a:t>Klik på ikonet for at tilføje et billede</a:t>
            </a:r>
          </a:p>
        </p:txBody>
      </p:sp>
    </p:spTree>
    <p:extLst>
      <p:ext uri="{BB962C8B-B14F-4D97-AF65-F5344CB8AC3E}">
        <p14:creationId xmlns:p14="http://schemas.microsoft.com/office/powerpoint/2010/main" val="7583262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amp;S layout 1/4">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196865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934B8F2-B540-49F8-3E18-9834B1EDB206}"/>
              </a:ext>
            </a:extLst>
          </p:cNvPr>
          <p:cNvSpPr/>
          <p:nvPr userDrawn="1"/>
        </p:nvSpPr>
        <p:spPr>
          <a:xfrm>
            <a:off x="8926513" y="0"/>
            <a:ext cx="3265487"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8416927" cy="966187"/>
          </a:xfrm>
        </p:spPr>
        <p:txBody>
          <a:bodyPr vert="horz" anchor="b"/>
          <a:lstStyle>
            <a:lvl1pPr>
              <a:defRPr/>
            </a:lvl1pPr>
          </a:lstStyle>
          <a:p>
            <a:r>
              <a:rPr lang="en-GB"/>
              <a:t>[Action title]</a:t>
            </a:r>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1"/>
            <a:ext cx="8416926" cy="295494"/>
          </a:xfrm>
        </p:spPr>
        <p:txBody>
          <a:bodyPr/>
          <a:lstStyle>
            <a:lvl1pPr marL="0" indent="0">
              <a:lnSpc>
                <a:spcPct val="100000"/>
              </a:lnSpc>
              <a:buNone/>
              <a:defRPr/>
            </a:lvl1pPr>
          </a:lstStyle>
          <a:p>
            <a:r>
              <a:rPr lang="da-DK"/>
              <a:t>[</a:t>
            </a:r>
            <a:r>
              <a:rPr lang="da-DK" err="1"/>
              <a:t>Descriptive</a:t>
            </a:r>
            <a:r>
              <a:rPr lang="da-DK"/>
              <a:t> title matching contents]</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5" name="Text Placeholder 17">
            <a:extLst>
              <a:ext uri="{FF2B5EF4-FFF2-40B4-BE49-F238E27FC236}">
                <a16:creationId xmlns:a16="http://schemas.microsoft.com/office/drawing/2014/main" id="{905E3D9B-6310-AC88-6CFD-6CA0AE35712E}"/>
              </a:ext>
            </a:extLst>
          </p:cNvPr>
          <p:cNvSpPr>
            <a:spLocks noGrp="1"/>
          </p:cNvSpPr>
          <p:nvPr>
            <p:ph type="body" sz="quarter" idx="15" hasCustomPrompt="1"/>
          </p:nvPr>
        </p:nvSpPr>
        <p:spPr>
          <a:xfrm>
            <a:off x="431800" y="6461126"/>
            <a:ext cx="84169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Note:</a:t>
            </a:r>
          </a:p>
        </p:txBody>
      </p:sp>
      <p:sp>
        <p:nvSpPr>
          <p:cNvPr id="16" name="Text Placeholder 17">
            <a:extLst>
              <a:ext uri="{FF2B5EF4-FFF2-40B4-BE49-F238E27FC236}">
                <a16:creationId xmlns:a16="http://schemas.microsoft.com/office/drawing/2014/main" id="{4DB5DE11-BDC3-C26C-1439-2C37484ED489}"/>
              </a:ext>
            </a:extLst>
          </p:cNvPr>
          <p:cNvSpPr>
            <a:spLocks noGrp="1"/>
          </p:cNvSpPr>
          <p:nvPr>
            <p:ph type="body" sz="quarter" idx="16" hasCustomPrompt="1"/>
          </p:nvPr>
        </p:nvSpPr>
        <p:spPr>
          <a:xfrm>
            <a:off x="431800" y="6661150"/>
            <a:ext cx="84169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Source:</a:t>
            </a:r>
          </a:p>
        </p:txBody>
      </p:sp>
      <p:sp>
        <p:nvSpPr>
          <p:cNvPr id="25" name="Slide Number Placeholder 5">
            <a:extLst>
              <a:ext uri="{FF2B5EF4-FFF2-40B4-BE49-F238E27FC236}">
                <a16:creationId xmlns:a16="http://schemas.microsoft.com/office/drawing/2014/main" id="{38142677-9E19-EF71-1461-D87581F92084}"/>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4439647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amp;S forsid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416842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9D8805C8-AD9C-05D6-9A57-66254CD4E379}"/>
              </a:ext>
            </a:extLst>
          </p:cNvPr>
          <p:cNvSpPr>
            <a:spLocks noGrp="1"/>
          </p:cNvSpPr>
          <p:nvPr>
            <p:ph type="pic" sz="quarter" idx="15"/>
          </p:nvPr>
        </p:nvSpPr>
        <p:spPr>
          <a:xfrm>
            <a:off x="6096000" y="0"/>
            <a:ext cx="6096000" cy="6858000"/>
          </a:xfrm>
          <a:solidFill>
            <a:schemeClr val="bg2"/>
          </a:solidFill>
        </p:spPr>
        <p:txBody>
          <a:bodyPr/>
          <a:lstStyle>
            <a:lvl1pPr>
              <a:buNone/>
              <a:defRPr/>
            </a:lvl1pPr>
          </a:lstStyle>
          <a:p>
            <a:endParaRPr lang="da-DK"/>
          </a:p>
        </p:txBody>
      </p:sp>
      <p:sp>
        <p:nvSpPr>
          <p:cNvPr id="14" name="Title 1">
            <a:extLst>
              <a:ext uri="{FF2B5EF4-FFF2-40B4-BE49-F238E27FC236}">
                <a16:creationId xmlns:a16="http://schemas.microsoft.com/office/drawing/2014/main" id="{D83137D8-686E-97A9-C921-708FFD0B4E92}"/>
              </a:ext>
            </a:extLst>
          </p:cNvPr>
          <p:cNvSpPr txBox="1">
            <a:spLocks/>
          </p:cNvSpPr>
          <p:nvPr userDrawn="1"/>
        </p:nvSpPr>
        <p:spPr>
          <a:xfrm>
            <a:off x="431801" y="3429000"/>
            <a:ext cx="5664200" cy="203929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b="0" i="0" kern="1200">
                <a:solidFill>
                  <a:schemeClr val="tx1"/>
                </a:solidFill>
                <a:latin typeface="Eifont Display" pitchFamily="2" charset="77"/>
                <a:ea typeface="+mj-ea"/>
                <a:cs typeface="+mj-cs"/>
              </a:defRPr>
            </a:lvl1pPr>
          </a:lstStyle>
          <a:p>
            <a:r>
              <a:rPr lang="en-GB">
                <a:solidFill>
                  <a:schemeClr val="tx2"/>
                </a:solidFill>
              </a:rPr>
              <a:t>[Subject]</a:t>
            </a:r>
            <a:br>
              <a:rPr lang="en-GB">
                <a:solidFill>
                  <a:schemeClr val="tx2"/>
                </a:solidFill>
              </a:rPr>
            </a:br>
            <a:r>
              <a:rPr lang="en-GB">
                <a:solidFill>
                  <a:schemeClr val="tx1"/>
                </a:solidFill>
              </a:rPr>
              <a:t>[Headline]</a:t>
            </a:r>
          </a:p>
        </p:txBody>
      </p:sp>
      <p:sp>
        <p:nvSpPr>
          <p:cNvPr id="15" name="Subtitle 2">
            <a:extLst>
              <a:ext uri="{FF2B5EF4-FFF2-40B4-BE49-F238E27FC236}">
                <a16:creationId xmlns:a16="http://schemas.microsoft.com/office/drawing/2014/main" id="{8816345B-8EE8-8F85-57E3-294B45474058}"/>
              </a:ext>
            </a:extLst>
          </p:cNvPr>
          <p:cNvSpPr txBox="1">
            <a:spLocks/>
          </p:cNvSpPr>
          <p:nvPr userDrawn="1"/>
        </p:nvSpPr>
        <p:spPr>
          <a:xfrm>
            <a:off x="431801" y="5620694"/>
            <a:ext cx="5664200" cy="663771"/>
          </a:xfrm>
          <a:prstGeom prst="rect">
            <a:avLst/>
          </a:prstGeom>
        </p:spPr>
        <p:txBody>
          <a:bodyPr>
            <a:sp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a:t>[Further description of subject]</a:t>
            </a:r>
          </a:p>
          <a:p>
            <a:pPr marL="0" indent="0">
              <a:buNone/>
            </a:pPr>
            <a:r>
              <a:rPr lang="en-GB"/>
              <a:t>[Month] [Year]</a:t>
            </a:r>
          </a:p>
        </p:txBody>
      </p:sp>
      <p:pic>
        <p:nvPicPr>
          <p:cNvPr id="21" name="Graphic 5">
            <a:extLst>
              <a:ext uri="{FF2B5EF4-FFF2-40B4-BE49-F238E27FC236}">
                <a16:creationId xmlns:a16="http://schemas.microsoft.com/office/drawing/2014/main" id="{3F403666-7934-79F5-2F59-7CDDF2CEA59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32" name="Slide Number Placeholder 5">
            <a:extLst>
              <a:ext uri="{FF2B5EF4-FFF2-40B4-BE49-F238E27FC236}">
                <a16:creationId xmlns:a16="http://schemas.microsoft.com/office/drawing/2014/main" id="{C7769ED0-9316-831B-3696-EC306A0F4C9D}"/>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42246054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A&amp;S layout 1/5">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1230348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934B8F2-B540-49F8-3E18-9834B1EDB206}"/>
              </a:ext>
            </a:extLst>
          </p:cNvPr>
          <p:cNvSpPr/>
          <p:nvPr userDrawn="1"/>
        </p:nvSpPr>
        <p:spPr>
          <a:xfrm>
            <a:off x="9871075" y="0"/>
            <a:ext cx="23209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9331327" cy="966187"/>
          </a:xfrm>
        </p:spPr>
        <p:txBody>
          <a:bodyPr vert="horz" anchor="b"/>
          <a:lstStyle/>
          <a:p>
            <a:r>
              <a:rPr lang="en-GB"/>
              <a:t>[Action title]</a:t>
            </a:r>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1"/>
            <a:ext cx="9331326" cy="295494"/>
          </a:xfrm>
        </p:spPr>
        <p:txBody>
          <a:bodyPr/>
          <a:lstStyle>
            <a:lvl1pPr marL="0" indent="0">
              <a:lnSpc>
                <a:spcPct val="100000"/>
              </a:lnSpc>
              <a:buNone/>
              <a:defRPr/>
            </a:lvl1pPr>
          </a:lstStyle>
          <a:p>
            <a:r>
              <a:rPr lang="da-DK"/>
              <a:t>[</a:t>
            </a:r>
            <a:r>
              <a:rPr lang="da-DK" err="1"/>
              <a:t>Descriptive</a:t>
            </a:r>
            <a:r>
              <a:rPr lang="da-DK"/>
              <a:t> title matching contents]</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8" name="Text Placeholder 17">
            <a:extLst>
              <a:ext uri="{FF2B5EF4-FFF2-40B4-BE49-F238E27FC236}">
                <a16:creationId xmlns:a16="http://schemas.microsoft.com/office/drawing/2014/main" id="{E4DED64E-DEB4-335F-F9DC-B9545873DC3E}"/>
              </a:ext>
            </a:extLst>
          </p:cNvPr>
          <p:cNvSpPr>
            <a:spLocks noGrp="1"/>
          </p:cNvSpPr>
          <p:nvPr>
            <p:ph type="body" sz="quarter" idx="15" hasCustomPrompt="1"/>
          </p:nvPr>
        </p:nvSpPr>
        <p:spPr>
          <a:xfrm>
            <a:off x="431800" y="6461126"/>
            <a:ext cx="93313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Note:</a:t>
            </a:r>
          </a:p>
        </p:txBody>
      </p:sp>
      <p:sp>
        <p:nvSpPr>
          <p:cNvPr id="19" name="Text Placeholder 17">
            <a:extLst>
              <a:ext uri="{FF2B5EF4-FFF2-40B4-BE49-F238E27FC236}">
                <a16:creationId xmlns:a16="http://schemas.microsoft.com/office/drawing/2014/main" id="{01B4C543-3F16-0E08-A6C8-5E66DBF687EA}"/>
              </a:ext>
            </a:extLst>
          </p:cNvPr>
          <p:cNvSpPr>
            <a:spLocks noGrp="1"/>
          </p:cNvSpPr>
          <p:nvPr>
            <p:ph type="body" sz="quarter" idx="16" hasCustomPrompt="1"/>
          </p:nvPr>
        </p:nvSpPr>
        <p:spPr>
          <a:xfrm>
            <a:off x="431800" y="6661150"/>
            <a:ext cx="93313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Source:</a:t>
            </a:r>
          </a:p>
        </p:txBody>
      </p:sp>
      <p:sp>
        <p:nvSpPr>
          <p:cNvPr id="25" name="Slide Number Placeholder 5">
            <a:extLst>
              <a:ext uri="{FF2B5EF4-FFF2-40B4-BE49-F238E27FC236}">
                <a16:creationId xmlns:a16="http://schemas.microsoft.com/office/drawing/2014/main" id="{36174753-DB93-2F55-E45A-7327A079E759}"/>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760377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amp;S layout 1/4">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196865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934B8F2-B540-49F8-3E18-9834B1EDB206}"/>
              </a:ext>
            </a:extLst>
          </p:cNvPr>
          <p:cNvSpPr/>
          <p:nvPr userDrawn="1"/>
        </p:nvSpPr>
        <p:spPr>
          <a:xfrm>
            <a:off x="8926513" y="0"/>
            <a:ext cx="3265487"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8416927" cy="966187"/>
          </a:xfrm>
        </p:spPr>
        <p:txBody>
          <a:bodyPr vert="horz" anchor="b"/>
          <a:lstStyle>
            <a:lvl1pPr>
              <a:defRPr/>
            </a:lvl1pPr>
          </a:lstStyle>
          <a:p>
            <a:r>
              <a:rPr lang="en-GB"/>
              <a:t>[Action title]</a:t>
            </a:r>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1"/>
            <a:ext cx="8416926" cy="295494"/>
          </a:xfrm>
        </p:spPr>
        <p:txBody>
          <a:bodyPr/>
          <a:lstStyle>
            <a:lvl1pPr marL="0" indent="0">
              <a:lnSpc>
                <a:spcPct val="100000"/>
              </a:lnSpc>
              <a:buNone/>
              <a:defRPr/>
            </a:lvl1pPr>
          </a:lstStyle>
          <a:p>
            <a:r>
              <a:rPr lang="da-DK"/>
              <a:t>[</a:t>
            </a:r>
            <a:r>
              <a:rPr lang="da-DK" err="1"/>
              <a:t>Descriptive</a:t>
            </a:r>
            <a:r>
              <a:rPr lang="da-DK"/>
              <a:t> title matching contents]</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5" name="Text Placeholder 17">
            <a:extLst>
              <a:ext uri="{FF2B5EF4-FFF2-40B4-BE49-F238E27FC236}">
                <a16:creationId xmlns:a16="http://schemas.microsoft.com/office/drawing/2014/main" id="{905E3D9B-6310-AC88-6CFD-6CA0AE35712E}"/>
              </a:ext>
            </a:extLst>
          </p:cNvPr>
          <p:cNvSpPr>
            <a:spLocks noGrp="1"/>
          </p:cNvSpPr>
          <p:nvPr>
            <p:ph type="body" sz="quarter" idx="15" hasCustomPrompt="1"/>
          </p:nvPr>
        </p:nvSpPr>
        <p:spPr>
          <a:xfrm>
            <a:off x="431800" y="6461126"/>
            <a:ext cx="84169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Note:</a:t>
            </a:r>
          </a:p>
        </p:txBody>
      </p:sp>
      <p:sp>
        <p:nvSpPr>
          <p:cNvPr id="16" name="Text Placeholder 17">
            <a:extLst>
              <a:ext uri="{FF2B5EF4-FFF2-40B4-BE49-F238E27FC236}">
                <a16:creationId xmlns:a16="http://schemas.microsoft.com/office/drawing/2014/main" id="{4DB5DE11-BDC3-C26C-1439-2C37484ED489}"/>
              </a:ext>
            </a:extLst>
          </p:cNvPr>
          <p:cNvSpPr>
            <a:spLocks noGrp="1"/>
          </p:cNvSpPr>
          <p:nvPr>
            <p:ph type="body" sz="quarter" idx="16" hasCustomPrompt="1"/>
          </p:nvPr>
        </p:nvSpPr>
        <p:spPr>
          <a:xfrm>
            <a:off x="431800" y="6661150"/>
            <a:ext cx="84169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Source:</a:t>
            </a:r>
          </a:p>
        </p:txBody>
      </p:sp>
      <p:sp>
        <p:nvSpPr>
          <p:cNvPr id="25" name="Slide Number Placeholder 5">
            <a:extLst>
              <a:ext uri="{FF2B5EF4-FFF2-40B4-BE49-F238E27FC236}">
                <a16:creationId xmlns:a16="http://schemas.microsoft.com/office/drawing/2014/main" id="{38142677-9E19-EF71-1461-D87581F92084}"/>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2186802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amp;S layout 1/3">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296819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934B8F2-B540-49F8-3E18-9834B1EDB206}"/>
              </a:ext>
            </a:extLst>
          </p:cNvPr>
          <p:cNvSpPr/>
          <p:nvPr userDrawn="1"/>
        </p:nvSpPr>
        <p:spPr>
          <a:xfrm>
            <a:off x="7983539" y="0"/>
            <a:ext cx="420846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7464427" cy="966187"/>
          </a:xfrm>
        </p:spPr>
        <p:txBody>
          <a:bodyPr vert="horz" anchor="b"/>
          <a:lstStyle/>
          <a:p>
            <a:r>
              <a:rPr lang="en-GB"/>
              <a:t>[Action title]</a:t>
            </a:r>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1"/>
            <a:ext cx="7464426" cy="295494"/>
          </a:xfrm>
        </p:spPr>
        <p:txBody>
          <a:bodyPr/>
          <a:lstStyle>
            <a:lvl1pPr marL="0" indent="0">
              <a:lnSpc>
                <a:spcPct val="100000"/>
              </a:lnSpc>
              <a:buNone/>
              <a:defRPr/>
            </a:lvl1pPr>
          </a:lstStyle>
          <a:p>
            <a:r>
              <a:rPr lang="da-DK"/>
              <a:t>[</a:t>
            </a:r>
            <a:r>
              <a:rPr lang="da-DK" err="1"/>
              <a:t>Descriptive</a:t>
            </a:r>
            <a:r>
              <a:rPr lang="da-DK"/>
              <a:t> title matching contents]</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0" name="Text Placeholder 17">
            <a:extLst>
              <a:ext uri="{FF2B5EF4-FFF2-40B4-BE49-F238E27FC236}">
                <a16:creationId xmlns:a16="http://schemas.microsoft.com/office/drawing/2014/main" id="{EBB6455A-6A98-2121-5357-612312863FB7}"/>
              </a:ext>
            </a:extLst>
          </p:cNvPr>
          <p:cNvSpPr>
            <a:spLocks noGrp="1"/>
          </p:cNvSpPr>
          <p:nvPr>
            <p:ph type="body" sz="quarter" idx="15" hasCustomPrompt="1"/>
          </p:nvPr>
        </p:nvSpPr>
        <p:spPr>
          <a:xfrm>
            <a:off x="431800" y="6461126"/>
            <a:ext cx="74644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Note:</a:t>
            </a:r>
          </a:p>
        </p:txBody>
      </p:sp>
      <p:sp>
        <p:nvSpPr>
          <p:cNvPr id="11" name="Text Placeholder 17">
            <a:extLst>
              <a:ext uri="{FF2B5EF4-FFF2-40B4-BE49-F238E27FC236}">
                <a16:creationId xmlns:a16="http://schemas.microsoft.com/office/drawing/2014/main" id="{F4EE6576-C7DA-70D0-3209-B22D07C4389E}"/>
              </a:ext>
            </a:extLst>
          </p:cNvPr>
          <p:cNvSpPr>
            <a:spLocks noGrp="1"/>
          </p:cNvSpPr>
          <p:nvPr>
            <p:ph type="body" sz="quarter" idx="16" hasCustomPrompt="1"/>
          </p:nvPr>
        </p:nvSpPr>
        <p:spPr>
          <a:xfrm>
            <a:off x="431800" y="6661150"/>
            <a:ext cx="7464425" cy="196850"/>
          </a:xfrm>
        </p:spPr>
        <p:txBody>
          <a:bodyPr vert="horz" wrap="none" lIns="0" tIns="0" rIns="0" bIns="0" rtlCol="0">
            <a:noAutofit/>
          </a:bodyPr>
          <a:lstStyle>
            <a:lvl1pPr>
              <a:lnSpc>
                <a:spcPct val="150000"/>
              </a:lnSpc>
              <a:buFont typeface="Arial" panose="020B0604020202020204" pitchFamily="34" charset="0"/>
              <a:buNone/>
              <a:defRPr lang="da-DK" sz="800" dirty="0"/>
            </a:lvl1pPr>
          </a:lstStyle>
          <a:p>
            <a:pPr marL="0" lvl="0" indent="0">
              <a:lnSpc>
                <a:spcPct val="100000"/>
              </a:lnSpc>
              <a:spcBef>
                <a:spcPts val="0"/>
              </a:spcBef>
              <a:buFont typeface="Arial" panose="020B0604020202020204" pitchFamily="34" charset="0"/>
              <a:buNone/>
            </a:pPr>
            <a:r>
              <a:rPr lang="da-DK"/>
              <a:t>Source:</a:t>
            </a:r>
          </a:p>
        </p:txBody>
      </p:sp>
      <p:sp>
        <p:nvSpPr>
          <p:cNvPr id="18" name="Slide Number Placeholder 5">
            <a:extLst>
              <a:ext uri="{FF2B5EF4-FFF2-40B4-BE49-F238E27FC236}">
                <a16:creationId xmlns:a16="http://schemas.microsoft.com/office/drawing/2014/main" id="{288FA54E-1731-EBC2-700D-E13D1C15A502}"/>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472422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amp;S layout 1/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3593098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C99FE49-3129-9AEC-BAAA-2D139A8FDF3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5588002" cy="966187"/>
          </a:xfrm>
        </p:spPr>
        <p:txBody>
          <a:bodyPr vert="horz" anchor="b"/>
          <a:lstStyle/>
          <a:p>
            <a:r>
              <a:rPr lang="en-GB"/>
              <a:t>[Action title]</a:t>
            </a:r>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9" y="1440001"/>
            <a:ext cx="5588002" cy="295494"/>
          </a:xfrm>
        </p:spPr>
        <p:txBody>
          <a:bodyPr/>
          <a:lstStyle>
            <a:lvl1pPr marL="0" indent="0">
              <a:lnSpc>
                <a:spcPct val="100000"/>
              </a:lnSpc>
              <a:buNone/>
              <a:defRPr/>
            </a:lvl1pPr>
          </a:lstStyle>
          <a:p>
            <a:r>
              <a:rPr lang="da-DK"/>
              <a:t>[</a:t>
            </a:r>
            <a:r>
              <a:rPr lang="da-DK" err="1"/>
              <a:t>Descriptive</a:t>
            </a:r>
            <a:r>
              <a:rPr lang="da-DK"/>
              <a:t> title matching contents]</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1" name="Text Placeholder 17">
            <a:extLst>
              <a:ext uri="{FF2B5EF4-FFF2-40B4-BE49-F238E27FC236}">
                <a16:creationId xmlns:a16="http://schemas.microsoft.com/office/drawing/2014/main" id="{91F5CF1D-0625-B097-4190-794231313AD4}"/>
              </a:ext>
            </a:extLst>
          </p:cNvPr>
          <p:cNvSpPr>
            <a:spLocks noGrp="1"/>
          </p:cNvSpPr>
          <p:nvPr>
            <p:ph type="body" sz="quarter" idx="15" hasCustomPrompt="1"/>
          </p:nvPr>
        </p:nvSpPr>
        <p:spPr>
          <a:xfrm>
            <a:off x="431800" y="6461126"/>
            <a:ext cx="5588000" cy="196850"/>
          </a:xfrm>
        </p:spPr>
        <p:txBody>
          <a:bodyPr wrap="none"/>
          <a:lstStyle>
            <a:lvl1pPr marL="0" indent="0">
              <a:lnSpc>
                <a:spcPct val="100000"/>
              </a:lnSpc>
              <a:spcBef>
                <a:spcPts val="0"/>
              </a:spcBef>
              <a:buFont typeface="Arial" panose="020B0604020202020204" pitchFamily="34" charset="0"/>
              <a:buNone/>
              <a:defRPr sz="800"/>
            </a:lvl1pPr>
          </a:lstStyle>
          <a:p>
            <a:pPr lvl="0"/>
            <a:r>
              <a:rPr lang="da-DK"/>
              <a:t>Note:</a:t>
            </a:r>
          </a:p>
        </p:txBody>
      </p:sp>
      <p:sp>
        <p:nvSpPr>
          <p:cNvPr id="13" name="Text Placeholder 17">
            <a:extLst>
              <a:ext uri="{FF2B5EF4-FFF2-40B4-BE49-F238E27FC236}">
                <a16:creationId xmlns:a16="http://schemas.microsoft.com/office/drawing/2014/main" id="{C2CDA535-8B17-0C4E-8F03-B1CD1FCEE499}"/>
              </a:ext>
            </a:extLst>
          </p:cNvPr>
          <p:cNvSpPr>
            <a:spLocks noGrp="1"/>
          </p:cNvSpPr>
          <p:nvPr>
            <p:ph type="body" sz="quarter" idx="16" hasCustomPrompt="1"/>
          </p:nvPr>
        </p:nvSpPr>
        <p:spPr>
          <a:xfrm>
            <a:off x="431800" y="6661150"/>
            <a:ext cx="5588000" cy="196850"/>
          </a:xfrm>
        </p:spPr>
        <p:txBody>
          <a:bodyPr wrap="none"/>
          <a:lstStyle>
            <a:lvl1pPr marL="0" indent="0">
              <a:lnSpc>
                <a:spcPct val="100000"/>
              </a:lnSpc>
              <a:spcBef>
                <a:spcPts val="0"/>
              </a:spcBef>
              <a:buFont typeface="Arial" panose="020B0604020202020204" pitchFamily="34" charset="0"/>
              <a:buNone/>
              <a:defRPr sz="800"/>
            </a:lvl1pPr>
          </a:lstStyle>
          <a:p>
            <a:pPr lvl="0"/>
            <a:r>
              <a:rPr lang="da-DK"/>
              <a:t>Source:</a:t>
            </a:r>
          </a:p>
        </p:txBody>
      </p:sp>
      <p:sp>
        <p:nvSpPr>
          <p:cNvPr id="16" name="Slide Number Placeholder 5">
            <a:extLst>
              <a:ext uri="{FF2B5EF4-FFF2-40B4-BE49-F238E27FC236}">
                <a16:creationId xmlns:a16="http://schemas.microsoft.com/office/drawing/2014/main" id="{0145D99D-9380-E057-4087-BDE9AAB77572}"/>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1659823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amp;S agend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339456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C99FE49-3129-9AEC-BAAA-2D139A8FDF31}"/>
              </a:ext>
            </a:extLst>
          </p:cNvPr>
          <p:cNvSpPr/>
          <p:nvPr userDrawn="1"/>
        </p:nvSpPr>
        <p:spPr>
          <a:xfrm>
            <a:off x="3263900" y="0"/>
            <a:ext cx="8928101"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3460750"/>
            <a:ext cx="2749552" cy="966187"/>
          </a:xfrm>
        </p:spPr>
        <p:txBody>
          <a:bodyPr vert="horz" anchor="ctr"/>
          <a:lstStyle>
            <a:lvl1pPr>
              <a:defRPr/>
            </a:lvl1pPr>
          </a:lstStyle>
          <a:p>
            <a:r>
              <a:rPr lang="en-GB"/>
              <a:t>Agenda</a:t>
            </a:r>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3" name="Slide Number Placeholder 5">
            <a:extLst>
              <a:ext uri="{FF2B5EF4-FFF2-40B4-BE49-F238E27FC236}">
                <a16:creationId xmlns:a16="http://schemas.microsoft.com/office/drawing/2014/main" id="{B5970AF7-F0B1-0727-B640-8270B665BA21}"/>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26925686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rside med basis form">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39C42E-1E18-A551-C53E-863A66DDBDB4}"/>
              </a:ext>
            </a:extLst>
          </p:cNvPr>
          <p:cNvGraphicFramePr>
            <a:graphicFrameLocks noChangeAspect="1"/>
          </p:cNvGraphicFramePr>
          <p:nvPr userDrawn="1">
            <p:custDataLst>
              <p:tags r:id="rId1"/>
            </p:custDataLst>
            <p:extLst>
              <p:ext uri="{D42A27DB-BD31-4B8C-83A1-F6EECF244321}">
                <p14:modId xmlns:p14="http://schemas.microsoft.com/office/powerpoint/2010/main" val="214958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1539C42E-1E18-A551-C53E-863A66DDB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text, businesscard, vector graphics, envelope&#10;&#10;Description automatically generated">
            <a:extLst>
              <a:ext uri="{FF2B5EF4-FFF2-40B4-BE49-F238E27FC236}">
                <a16:creationId xmlns:a16="http://schemas.microsoft.com/office/drawing/2014/main" id="{77B5D818-6C05-77A3-C7AE-8ABA75EF9E3F}"/>
              </a:ext>
            </a:extLst>
          </p:cNvPr>
          <p:cNvPicPr>
            <a:picLocks noChangeAspect="1"/>
          </p:cNvPicPr>
          <p:nvPr/>
        </p:nvPicPr>
        <p:blipFill>
          <a:blip r:embed="rId5"/>
          <a:stretch>
            <a:fillRect/>
          </a:stretch>
        </p:blipFill>
        <p:spPr>
          <a:xfrm>
            <a:off x="7038975" y="0"/>
            <a:ext cx="4724400" cy="6858000"/>
          </a:xfrm>
          <a:prstGeom prst="rect">
            <a:avLst/>
          </a:prstGeom>
        </p:spPr>
      </p:pic>
      <p:pic>
        <p:nvPicPr>
          <p:cNvPr id="6" name="Graphic 5">
            <a:extLst>
              <a:ext uri="{FF2B5EF4-FFF2-40B4-BE49-F238E27FC236}">
                <a16:creationId xmlns:a16="http://schemas.microsoft.com/office/drawing/2014/main" id="{FC73C665-8231-D2F8-DCA8-28A66DFDBB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671521CE-E86C-519E-43A3-45904C032260}"/>
              </a:ext>
            </a:extLst>
          </p:cNvPr>
          <p:cNvSpPr>
            <a:spLocks noGrp="1"/>
          </p:cNvSpPr>
          <p:nvPr>
            <p:ph type="ctrTitle" hasCustomPrompt="1"/>
          </p:nvPr>
        </p:nvSpPr>
        <p:spPr>
          <a:xfrm>
            <a:off x="428625" y="3429000"/>
            <a:ext cx="6607175" cy="2039295"/>
          </a:xfrm>
        </p:spPr>
        <p:txBody>
          <a:bodyPr vert="horz" anchor="b" anchorCtr="0">
            <a:noAutofit/>
          </a:bodyPr>
          <a:lstStyle>
            <a:lvl1pPr algn="l">
              <a:lnSpc>
                <a:spcPct val="100000"/>
              </a:lnSpc>
              <a:defRPr sz="4800">
                <a:solidFill>
                  <a:schemeClr val="tx1"/>
                </a:solidFill>
              </a:defRPr>
            </a:lvl1pPr>
          </a:lstStyle>
          <a:p>
            <a:r>
              <a:rPr lang="en-GB" err="1"/>
              <a:t>Overskrift</a:t>
            </a:r>
            <a:br>
              <a:rPr lang="en-GB"/>
            </a:br>
            <a:r>
              <a:rPr lang="en-GB"/>
              <a:t>max 2 </a:t>
            </a:r>
            <a:r>
              <a:rPr lang="en-GB" err="1"/>
              <a:t>linjer</a:t>
            </a:r>
            <a:endParaRPr lang="en-GB"/>
          </a:p>
        </p:txBody>
      </p:sp>
      <p:sp>
        <p:nvSpPr>
          <p:cNvPr id="5" name="Subtitle 2">
            <a:extLst>
              <a:ext uri="{FF2B5EF4-FFF2-40B4-BE49-F238E27FC236}">
                <a16:creationId xmlns:a16="http://schemas.microsoft.com/office/drawing/2014/main" id="{15C02FC2-2542-3C2F-32FF-09CF013EEBDD}"/>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
        <p:nvSpPr>
          <p:cNvPr id="2" name="Slide Number Placeholder 5">
            <a:extLst>
              <a:ext uri="{FF2B5EF4-FFF2-40B4-BE49-F238E27FC236}">
                <a16:creationId xmlns:a16="http://schemas.microsoft.com/office/drawing/2014/main" id="{461C7B65-F15F-6C6A-0577-E795D9894BEC}"/>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561836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orside m. 5. element og billede">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Kombinationstegning: figur 11">
            <a:extLst>
              <a:ext uri="{FF2B5EF4-FFF2-40B4-BE49-F238E27FC236}">
                <a16:creationId xmlns:a16="http://schemas.microsoft.com/office/drawing/2014/main" id="{BBF3F5FD-EA4F-97E9-EBF0-DEF717EF951B}"/>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AFC0AA"/>
          </a:solidFill>
          <a:ln w="6350" cap="flat">
            <a:noFill/>
            <a:prstDash val="solid"/>
            <a:miter/>
          </a:ln>
        </p:spPr>
        <p:txBody>
          <a:bodyPr rtlCol="0" anchor="ctr"/>
          <a:lstStyle/>
          <a:p>
            <a:endParaRPr lang="da-DK"/>
          </a:p>
        </p:txBody>
      </p:sp>
      <p:sp>
        <p:nvSpPr>
          <p:cNvPr id="13" name="Kombinationstegning: figur 12">
            <a:extLst>
              <a:ext uri="{FF2B5EF4-FFF2-40B4-BE49-F238E27FC236}">
                <a16:creationId xmlns:a16="http://schemas.microsoft.com/office/drawing/2014/main" id="{6C7890A8-6459-F4B1-A181-8AEF37238AE1}"/>
              </a:ext>
            </a:extLst>
          </p:cNvPr>
          <p:cNvSpPr/>
          <p:nvPr/>
        </p:nvSpPr>
        <p:spPr>
          <a:xfrm>
            <a:off x="0" y="0"/>
            <a:ext cx="4807839" cy="6858000"/>
          </a:xfrm>
          <a:custGeom>
            <a:avLst/>
            <a:gdLst>
              <a:gd name="connsiteX0" fmla="*/ 3809111 w 4807839"/>
              <a:gd name="connsiteY0" fmla="*/ 6858000 h 6858000"/>
              <a:gd name="connsiteX1" fmla="*/ 3554222 w 4807839"/>
              <a:gd name="connsiteY1" fmla="*/ 4554474 h 6858000"/>
              <a:gd name="connsiteX2" fmla="*/ 2821051 w 4807839"/>
              <a:gd name="connsiteY2" fmla="*/ 2303336 h 6858000"/>
              <a:gd name="connsiteX3" fmla="*/ 4807839 w 4807839"/>
              <a:gd name="connsiteY3" fmla="*/ 0 h 6858000"/>
              <a:gd name="connsiteX4" fmla="*/ 0 w 4807839"/>
              <a:gd name="connsiteY4" fmla="*/ 0 h 6858000"/>
              <a:gd name="connsiteX5" fmla="*/ 0 w 4807839"/>
              <a:gd name="connsiteY5" fmla="*/ 6858000 h 6858000"/>
              <a:gd name="connsiteX6" fmla="*/ 3809111 w 480783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839" h="6858000">
                <a:moveTo>
                  <a:pt x="3809111" y="6858000"/>
                </a:moveTo>
                <a:cubicBezTo>
                  <a:pt x="4123309" y="6126988"/>
                  <a:pt x="3877120" y="5281676"/>
                  <a:pt x="3554222" y="4554474"/>
                </a:cubicBezTo>
                <a:cubicBezTo>
                  <a:pt x="3231325" y="3827272"/>
                  <a:pt x="2825115" y="3098991"/>
                  <a:pt x="2821051" y="2303336"/>
                </a:cubicBezTo>
                <a:cubicBezTo>
                  <a:pt x="2815400" y="1197039"/>
                  <a:pt x="3712718" y="156782"/>
                  <a:pt x="4807839" y="0"/>
                </a:cubicBezTo>
                <a:lnTo>
                  <a:pt x="0" y="0"/>
                </a:lnTo>
                <a:cubicBezTo>
                  <a:pt x="0" y="0"/>
                  <a:pt x="0" y="6858000"/>
                  <a:pt x="0" y="6858000"/>
                </a:cubicBezTo>
                <a:lnTo>
                  <a:pt x="3809111" y="6858000"/>
                </a:lnTo>
                <a:close/>
              </a:path>
            </a:pathLst>
          </a:custGeom>
          <a:solidFill>
            <a:srgbClr val="EBEBD7"/>
          </a:solidFill>
          <a:ln w="6350" cap="flat">
            <a:noFill/>
            <a:prstDash val="solid"/>
            <a:miter/>
          </a:ln>
        </p:spPr>
        <p:txBody>
          <a:bodyPr rtlCol="0" anchor="ctr"/>
          <a:lstStyle/>
          <a:p>
            <a:endParaRPr lang="da-DK"/>
          </a:p>
        </p:txBody>
      </p:sp>
      <p:pic>
        <p:nvPicPr>
          <p:cNvPr id="15" name="Graphic 5">
            <a:extLst>
              <a:ext uri="{FF2B5EF4-FFF2-40B4-BE49-F238E27FC236}">
                <a16:creationId xmlns:a16="http://schemas.microsoft.com/office/drawing/2014/main" id="{81FACF3A-FD47-30EF-DAE9-F7140C923A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76613" y="584400"/>
            <a:ext cx="734400" cy="378216"/>
          </a:xfrm>
          <a:prstGeom prst="rect">
            <a:avLst/>
          </a:prstGeom>
        </p:spPr>
      </p:pic>
      <p:sp>
        <p:nvSpPr>
          <p:cNvPr id="11" name="Pladsholder til billede 10">
            <a:extLst>
              <a:ext uri="{FF2B5EF4-FFF2-40B4-BE49-F238E27FC236}">
                <a16:creationId xmlns:a16="http://schemas.microsoft.com/office/drawing/2014/main" id="{289DCE84-5DD2-4018-708A-0E161FF88223}"/>
              </a:ext>
            </a:extLst>
          </p:cNvPr>
          <p:cNvSpPr>
            <a:spLocks noGrp="1"/>
          </p:cNvSpPr>
          <p:nvPr>
            <p:ph type="pic" sz="quarter" idx="12" hasCustomPrompt="1"/>
          </p:nvPr>
        </p:nvSpPr>
        <p:spPr>
          <a:xfrm>
            <a:off x="7576122" y="0"/>
            <a:ext cx="4615879" cy="6858000"/>
          </a:xfrm>
          <a:custGeom>
            <a:avLst/>
            <a:gdLst>
              <a:gd name="connsiteX0" fmla="*/ 1624838 w 4615879"/>
              <a:gd name="connsiteY0" fmla="*/ 0 h 6858000"/>
              <a:gd name="connsiteX1" fmla="*/ 4615879 w 4615879"/>
              <a:gd name="connsiteY1" fmla="*/ 0 h 6858000"/>
              <a:gd name="connsiteX2" fmla="*/ 4615879 w 4615879"/>
              <a:gd name="connsiteY2" fmla="*/ 6858000 h 6858000"/>
              <a:gd name="connsiteX3" fmla="*/ 2445576 w 4615879"/>
              <a:gd name="connsiteY3" fmla="*/ 6858000 h 6858000"/>
              <a:gd name="connsiteX4" fmla="*/ 1286764 w 4615879"/>
              <a:gd name="connsiteY4" fmla="*/ 4045458 h 6858000"/>
              <a:gd name="connsiteX5" fmla="*/ 0 w 4615879"/>
              <a:gd name="connsiteY5" fmla="*/ 404545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5879" h="6858000">
                <a:moveTo>
                  <a:pt x="1624838" y="0"/>
                </a:moveTo>
                <a:lnTo>
                  <a:pt x="4615879" y="0"/>
                </a:lnTo>
                <a:lnTo>
                  <a:pt x="4615879" y="6858000"/>
                </a:lnTo>
                <a:lnTo>
                  <a:pt x="2445576" y="6858000"/>
                </a:lnTo>
                <a:lnTo>
                  <a:pt x="1286764" y="4045458"/>
                </a:lnTo>
                <a:lnTo>
                  <a:pt x="0" y="4045458"/>
                </a:lnTo>
                <a:close/>
              </a:path>
            </a:pathLst>
          </a:custGeom>
          <a:solidFill>
            <a:schemeClr val="tx2"/>
          </a:solidFill>
        </p:spPr>
        <p:txBody>
          <a:bodyPr wrap="square" anchor="ctr">
            <a:noAutofit/>
          </a:bodyPr>
          <a:lstStyle>
            <a:lvl1pPr algn="ctr">
              <a:defRPr/>
            </a:lvl1pPr>
          </a:lstStyle>
          <a:p>
            <a:r>
              <a:rPr lang="da-DK"/>
              <a:t>Klik på ikonet for at tilføje et billede</a:t>
            </a:r>
          </a:p>
        </p:txBody>
      </p:sp>
      <p:sp>
        <p:nvSpPr>
          <p:cNvPr id="5" name="Title 1">
            <a:extLst>
              <a:ext uri="{FF2B5EF4-FFF2-40B4-BE49-F238E27FC236}">
                <a16:creationId xmlns:a16="http://schemas.microsoft.com/office/drawing/2014/main" id="{5B850F82-B942-1F34-C66A-024FE28DC615}"/>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tx1"/>
                </a:solidFill>
              </a:defRPr>
            </a:lvl1pPr>
          </a:lstStyle>
          <a:p>
            <a:r>
              <a:rPr lang="da-DK"/>
              <a:t>Overskrift</a:t>
            </a:r>
            <a:br>
              <a:rPr lang="da-DK"/>
            </a:br>
            <a:r>
              <a:rPr lang="da-DK"/>
              <a:t>max 2 linjer</a:t>
            </a:r>
          </a:p>
        </p:txBody>
      </p:sp>
      <p:sp>
        <p:nvSpPr>
          <p:cNvPr id="6" name="Subtitle 2">
            <a:extLst>
              <a:ext uri="{FF2B5EF4-FFF2-40B4-BE49-F238E27FC236}">
                <a16:creationId xmlns:a16="http://schemas.microsoft.com/office/drawing/2014/main" id="{047B5869-CEC3-DC3E-E283-B2098414FB70}"/>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
        <p:nvSpPr>
          <p:cNvPr id="7" name="Slide Number Placeholder 5">
            <a:extLst>
              <a:ext uri="{FF2B5EF4-FFF2-40B4-BE49-F238E27FC236}">
                <a16:creationId xmlns:a16="http://schemas.microsoft.com/office/drawing/2014/main" id="{6E80F80C-A683-5ED6-A953-25D57110B0C6}"/>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8309232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rside m. 5. element og basis form">
    <p:bg>
      <p:bgPr>
        <a:solidFill>
          <a:schemeClr val="accent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B9BB11-5CCF-6F29-8F2C-C78BF0A2612E}"/>
              </a:ext>
            </a:extLst>
          </p:cNvPr>
          <p:cNvGraphicFramePr>
            <a:graphicFrameLocks noChangeAspect="1"/>
          </p:cNvGraphicFramePr>
          <p:nvPr userDrawn="1">
            <p:custDataLst>
              <p:tags r:id="rId1"/>
            </p:custDataLst>
            <p:extLst>
              <p:ext uri="{D42A27DB-BD31-4B8C-83A1-F6EECF244321}">
                <p14:modId xmlns:p14="http://schemas.microsoft.com/office/powerpoint/2010/main" val="4072139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CB9BB11-5CCF-6F29-8F2C-C78BF0A26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Shape, arrow&#10;&#10;Description automatically generated">
            <a:extLst>
              <a:ext uri="{FF2B5EF4-FFF2-40B4-BE49-F238E27FC236}">
                <a16:creationId xmlns:a16="http://schemas.microsoft.com/office/drawing/2014/main" id="{64822B49-176C-9EF2-BDE3-BB8C5FBC9D0B}"/>
              </a:ext>
            </a:extLst>
          </p:cNvPr>
          <p:cNvPicPr>
            <a:picLocks noChangeAspect="1"/>
          </p:cNvPicPr>
          <p:nvPr/>
        </p:nvPicPr>
        <p:blipFill>
          <a:blip r:embed="rId5"/>
          <a:stretch>
            <a:fillRect/>
          </a:stretch>
        </p:blipFill>
        <p:spPr>
          <a:xfrm>
            <a:off x="7983538" y="2643164"/>
            <a:ext cx="4209132" cy="4214836"/>
          </a:xfrm>
          <a:prstGeom prst="rect">
            <a:avLst/>
          </a:prstGeom>
        </p:spPr>
      </p:pic>
      <p:pic>
        <p:nvPicPr>
          <p:cNvPr id="5" name="Graphic 4">
            <a:extLst>
              <a:ext uri="{FF2B5EF4-FFF2-40B4-BE49-F238E27FC236}">
                <a16:creationId xmlns:a16="http://schemas.microsoft.com/office/drawing/2014/main" id="{ADB440BB-DFA9-6482-FBC7-D376D4F4C0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0"/>
            <a:ext cx="4800600" cy="6858000"/>
          </a:xfrm>
          <a:prstGeom prst="rect">
            <a:avLst/>
          </a:prstGeom>
        </p:spPr>
      </p:pic>
      <p:pic>
        <p:nvPicPr>
          <p:cNvPr id="7" name="Graphic 5">
            <a:extLst>
              <a:ext uri="{FF2B5EF4-FFF2-40B4-BE49-F238E27FC236}">
                <a16:creationId xmlns:a16="http://schemas.microsoft.com/office/drawing/2014/main" id="{7A7A1013-24F5-7404-250F-5694298A1B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4213" y="432000"/>
            <a:ext cx="734400" cy="378216"/>
          </a:xfrm>
          <a:prstGeom prst="rect">
            <a:avLst/>
          </a:prstGeom>
        </p:spPr>
      </p:pic>
      <p:sp>
        <p:nvSpPr>
          <p:cNvPr id="8" name="Title 1">
            <a:extLst>
              <a:ext uri="{FF2B5EF4-FFF2-40B4-BE49-F238E27FC236}">
                <a16:creationId xmlns:a16="http://schemas.microsoft.com/office/drawing/2014/main" id="{18375288-4A21-298C-1A88-A9BA1C2AF627}"/>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tx1"/>
                </a:solidFill>
              </a:defRPr>
            </a:lvl1pPr>
          </a:lstStyle>
          <a:p>
            <a:r>
              <a:rPr lang="en-GB" err="1"/>
              <a:t>Overskrift</a:t>
            </a:r>
            <a:br>
              <a:rPr lang="en-GB"/>
            </a:br>
            <a:r>
              <a:rPr lang="en-GB"/>
              <a:t>max 2 </a:t>
            </a:r>
            <a:r>
              <a:rPr lang="en-GB" err="1"/>
              <a:t>linjer</a:t>
            </a:r>
            <a:endParaRPr lang="en-GB"/>
          </a:p>
        </p:txBody>
      </p:sp>
      <p:sp>
        <p:nvSpPr>
          <p:cNvPr id="9" name="Subtitle 2">
            <a:extLst>
              <a:ext uri="{FF2B5EF4-FFF2-40B4-BE49-F238E27FC236}">
                <a16:creationId xmlns:a16="http://schemas.microsoft.com/office/drawing/2014/main" id="{88322174-CE4D-CC1D-A3D0-482D13EF7451}"/>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
        <p:nvSpPr>
          <p:cNvPr id="2" name="Slide Number Placeholder 5">
            <a:extLst>
              <a:ext uri="{FF2B5EF4-FFF2-40B4-BE49-F238E27FC236}">
                <a16:creationId xmlns:a16="http://schemas.microsoft.com/office/drawing/2014/main" id="{B0A65B72-FEEE-0096-6E96-3D23B9D0F30D}"/>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1641342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rside m. 5.element og billed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F05D3C5-B281-8825-0E58-3CB39E2121BE}"/>
              </a:ext>
            </a:extLst>
          </p:cNvPr>
          <p:cNvGraphicFramePr>
            <a:graphicFrameLocks noChangeAspect="1"/>
          </p:cNvGraphicFramePr>
          <p:nvPr userDrawn="1">
            <p:custDataLst>
              <p:tags r:id="rId1"/>
            </p:custDataLst>
            <p:extLst>
              <p:ext uri="{D42A27DB-BD31-4B8C-83A1-F6EECF244321}">
                <p14:modId xmlns:p14="http://schemas.microsoft.com/office/powerpoint/2010/main" val="288542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F05D3C5-B281-8825-0E58-3CB39E2121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DF1D378-C302-DCB6-3C41-1A3F78575E5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ladsholder til billede 8">
            <a:extLst>
              <a:ext uri="{FF2B5EF4-FFF2-40B4-BE49-F238E27FC236}">
                <a16:creationId xmlns:a16="http://schemas.microsoft.com/office/drawing/2014/main" id="{7D5BB556-917B-656B-11D4-702A8DA86F00}"/>
              </a:ext>
            </a:extLst>
          </p:cNvPr>
          <p:cNvSpPr>
            <a:spLocks noGrp="1"/>
          </p:cNvSpPr>
          <p:nvPr>
            <p:ph type="pic" sz="quarter" idx="11" hasCustomPrompt="1"/>
          </p:nvPr>
        </p:nvSpPr>
        <p:spPr>
          <a:xfrm>
            <a:off x="7038976" y="188"/>
            <a:ext cx="5153025" cy="6857813"/>
          </a:xfrm>
          <a:custGeom>
            <a:avLst/>
            <a:gdLst>
              <a:gd name="connsiteX0" fmla="*/ 4108857 w 5153025"/>
              <a:gd name="connsiteY0" fmla="*/ 5 h 6857813"/>
              <a:gd name="connsiteX1" fmla="*/ 4921360 w 5153025"/>
              <a:gd name="connsiteY1" fmla="*/ 63 h 6857813"/>
              <a:gd name="connsiteX2" fmla="*/ 5153025 w 5153025"/>
              <a:gd name="connsiteY2" fmla="*/ 100 h 6857813"/>
              <a:gd name="connsiteX3" fmla="*/ 5153025 w 5153025"/>
              <a:gd name="connsiteY3" fmla="*/ 6857813 h 6857813"/>
              <a:gd name="connsiteX4" fmla="*/ 972867 w 5153025"/>
              <a:gd name="connsiteY4" fmla="*/ 6857813 h 6857813"/>
              <a:gd name="connsiteX5" fmla="*/ 1025766 w 5153025"/>
              <a:gd name="connsiteY5" fmla="*/ 6708186 h 6857813"/>
              <a:gd name="connsiteX6" fmla="*/ 44 w 5153025"/>
              <a:gd name="connsiteY6" fmla="*/ 2325133 h 6857813"/>
              <a:gd name="connsiteX7" fmla="*/ 1923424 w 5153025"/>
              <a:gd name="connsiteY7" fmla="*/ 4746 h 6857813"/>
              <a:gd name="connsiteX8" fmla="*/ 4108857 w 5153025"/>
              <a:gd name="connsiteY8" fmla="*/ 5 h 685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025" h="6857813">
                <a:moveTo>
                  <a:pt x="4108857" y="5"/>
                </a:moveTo>
                <a:cubicBezTo>
                  <a:pt x="4372087" y="-11"/>
                  <a:pt x="4645456" y="20"/>
                  <a:pt x="4921360" y="63"/>
                </a:cubicBezTo>
                <a:lnTo>
                  <a:pt x="5153025" y="100"/>
                </a:lnTo>
                <a:lnTo>
                  <a:pt x="5153025" y="6857813"/>
                </a:lnTo>
                <a:lnTo>
                  <a:pt x="972867" y="6857813"/>
                </a:lnTo>
                <a:lnTo>
                  <a:pt x="1025766" y="6708186"/>
                </a:lnTo>
                <a:cubicBezTo>
                  <a:pt x="1519080" y="5132376"/>
                  <a:pt x="-9437" y="3786642"/>
                  <a:pt x="44" y="2325133"/>
                </a:cubicBezTo>
                <a:cubicBezTo>
                  <a:pt x="9831" y="816479"/>
                  <a:pt x="1439797" y="12456"/>
                  <a:pt x="1923424" y="4746"/>
                </a:cubicBezTo>
                <a:cubicBezTo>
                  <a:pt x="2165238" y="891"/>
                  <a:pt x="3055937" y="68"/>
                  <a:pt x="4108857" y="5"/>
                </a:cubicBezTo>
                <a:close/>
              </a:path>
            </a:pathLst>
          </a:custGeom>
          <a:solidFill>
            <a:schemeClr val="bg2"/>
          </a:solidFill>
        </p:spPr>
        <p:txBody>
          <a:bodyPr wrap="square" tIns="2808000">
            <a:noAutofit/>
          </a:bodyPr>
          <a:lstStyle>
            <a:lvl1pPr marL="0" indent="0" algn="ctr">
              <a:buFontTx/>
              <a:buNone/>
              <a:defRPr sz="1100"/>
            </a:lvl1pPr>
          </a:lstStyle>
          <a:p>
            <a:r>
              <a:rPr lang="en-GB" err="1"/>
              <a:t>Indsæt</a:t>
            </a:r>
            <a:r>
              <a:rPr lang="en-GB"/>
              <a:t> </a:t>
            </a:r>
            <a:r>
              <a:rPr lang="en-GB" err="1"/>
              <a:t>billede</a:t>
            </a:r>
            <a:endParaRPr lang="en-GB"/>
          </a:p>
        </p:txBody>
      </p:sp>
      <p:pic>
        <p:nvPicPr>
          <p:cNvPr id="4" name="Graphic 3">
            <a:extLst>
              <a:ext uri="{FF2B5EF4-FFF2-40B4-BE49-F238E27FC236}">
                <a16:creationId xmlns:a16="http://schemas.microsoft.com/office/drawing/2014/main" id="{605FA9F5-8805-D693-9361-4B7FD08C9CEF}"/>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rcRect/>
          <a:stretch/>
        </p:blipFill>
        <p:spPr>
          <a:xfrm>
            <a:off x="11024213" y="432000"/>
            <a:ext cx="734400" cy="378216"/>
          </a:xfrm>
          <a:prstGeom prst="rect">
            <a:avLst/>
          </a:prstGeom>
        </p:spPr>
      </p:pic>
      <p:sp>
        <p:nvSpPr>
          <p:cNvPr id="6" name="Title 1">
            <a:extLst>
              <a:ext uri="{FF2B5EF4-FFF2-40B4-BE49-F238E27FC236}">
                <a16:creationId xmlns:a16="http://schemas.microsoft.com/office/drawing/2014/main" id="{E1F81E90-3C4F-F11B-8600-6A5996EE19BD}"/>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tx1"/>
                </a:solidFill>
              </a:defRPr>
            </a:lvl1pPr>
          </a:lstStyle>
          <a:p>
            <a:r>
              <a:rPr lang="en-GB" err="1"/>
              <a:t>Overskrift</a:t>
            </a:r>
            <a:br>
              <a:rPr lang="en-GB"/>
            </a:br>
            <a:r>
              <a:rPr lang="en-GB"/>
              <a:t>max 2 </a:t>
            </a:r>
            <a:r>
              <a:rPr lang="en-GB" err="1"/>
              <a:t>linjer</a:t>
            </a:r>
            <a:endParaRPr lang="en-GB"/>
          </a:p>
        </p:txBody>
      </p:sp>
      <p:sp>
        <p:nvSpPr>
          <p:cNvPr id="7" name="Subtitle 2">
            <a:extLst>
              <a:ext uri="{FF2B5EF4-FFF2-40B4-BE49-F238E27FC236}">
                <a16:creationId xmlns:a16="http://schemas.microsoft.com/office/drawing/2014/main" id="{75B5DBE7-E11C-CCD3-951D-EAF9B63B441C}"/>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
        <p:nvSpPr>
          <p:cNvPr id="8" name="Slide Number Placeholder 5">
            <a:extLst>
              <a:ext uri="{FF2B5EF4-FFF2-40B4-BE49-F238E27FC236}">
                <a16:creationId xmlns:a16="http://schemas.microsoft.com/office/drawing/2014/main" id="{55B10ECE-09A2-C375-9F9A-E06C6822606F}"/>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9080752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rside m. 5. element og bille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D32B48-AB00-72BC-D885-BED17F90746E}"/>
              </a:ext>
            </a:extLst>
          </p:cNvPr>
          <p:cNvGraphicFramePr>
            <a:graphicFrameLocks noChangeAspect="1"/>
          </p:cNvGraphicFramePr>
          <p:nvPr userDrawn="1">
            <p:custDataLst>
              <p:tags r:id="rId1"/>
            </p:custDataLst>
            <p:extLst>
              <p:ext uri="{D42A27DB-BD31-4B8C-83A1-F6EECF244321}">
                <p14:modId xmlns:p14="http://schemas.microsoft.com/office/powerpoint/2010/main" val="218575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ED32B48-AB00-72BC-D885-BED17F9074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2" name="Kombinationstegning: figur 11">
            <a:extLst>
              <a:ext uri="{FF2B5EF4-FFF2-40B4-BE49-F238E27FC236}">
                <a16:creationId xmlns:a16="http://schemas.microsoft.com/office/drawing/2014/main" id="{BBF3F5FD-EA4F-97E9-EBF0-DEF717EF951B}"/>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AFC0AA"/>
          </a:solidFill>
          <a:ln w="6350" cap="flat">
            <a:noFill/>
            <a:prstDash val="solid"/>
            <a:miter/>
          </a:ln>
        </p:spPr>
        <p:txBody>
          <a:bodyPr rtlCol="0" anchor="ctr"/>
          <a:lstStyle/>
          <a:p>
            <a:endParaRPr lang="en-GB"/>
          </a:p>
        </p:txBody>
      </p:sp>
      <p:sp>
        <p:nvSpPr>
          <p:cNvPr id="13" name="Kombinationstegning: figur 12">
            <a:extLst>
              <a:ext uri="{FF2B5EF4-FFF2-40B4-BE49-F238E27FC236}">
                <a16:creationId xmlns:a16="http://schemas.microsoft.com/office/drawing/2014/main" id="{6C7890A8-6459-F4B1-A181-8AEF37238AE1}"/>
              </a:ext>
            </a:extLst>
          </p:cNvPr>
          <p:cNvSpPr/>
          <p:nvPr/>
        </p:nvSpPr>
        <p:spPr>
          <a:xfrm>
            <a:off x="0" y="0"/>
            <a:ext cx="4807839" cy="6858000"/>
          </a:xfrm>
          <a:custGeom>
            <a:avLst/>
            <a:gdLst>
              <a:gd name="connsiteX0" fmla="*/ 3809111 w 4807839"/>
              <a:gd name="connsiteY0" fmla="*/ 6858000 h 6858000"/>
              <a:gd name="connsiteX1" fmla="*/ 3554222 w 4807839"/>
              <a:gd name="connsiteY1" fmla="*/ 4554474 h 6858000"/>
              <a:gd name="connsiteX2" fmla="*/ 2821051 w 4807839"/>
              <a:gd name="connsiteY2" fmla="*/ 2303336 h 6858000"/>
              <a:gd name="connsiteX3" fmla="*/ 4807839 w 4807839"/>
              <a:gd name="connsiteY3" fmla="*/ 0 h 6858000"/>
              <a:gd name="connsiteX4" fmla="*/ 0 w 4807839"/>
              <a:gd name="connsiteY4" fmla="*/ 0 h 6858000"/>
              <a:gd name="connsiteX5" fmla="*/ 0 w 4807839"/>
              <a:gd name="connsiteY5" fmla="*/ 6858000 h 6858000"/>
              <a:gd name="connsiteX6" fmla="*/ 3809111 w 480783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839" h="6858000">
                <a:moveTo>
                  <a:pt x="3809111" y="6858000"/>
                </a:moveTo>
                <a:cubicBezTo>
                  <a:pt x="4123309" y="6126988"/>
                  <a:pt x="3877120" y="5281676"/>
                  <a:pt x="3554222" y="4554474"/>
                </a:cubicBezTo>
                <a:cubicBezTo>
                  <a:pt x="3231325" y="3827272"/>
                  <a:pt x="2825115" y="3098991"/>
                  <a:pt x="2821051" y="2303336"/>
                </a:cubicBezTo>
                <a:cubicBezTo>
                  <a:pt x="2815400" y="1197039"/>
                  <a:pt x="3712718" y="156782"/>
                  <a:pt x="4807839" y="0"/>
                </a:cubicBezTo>
                <a:lnTo>
                  <a:pt x="0" y="0"/>
                </a:lnTo>
                <a:cubicBezTo>
                  <a:pt x="0" y="0"/>
                  <a:pt x="0" y="6858000"/>
                  <a:pt x="0" y="6858000"/>
                </a:cubicBezTo>
                <a:lnTo>
                  <a:pt x="3809111" y="6858000"/>
                </a:lnTo>
                <a:close/>
              </a:path>
            </a:pathLst>
          </a:custGeom>
          <a:solidFill>
            <a:srgbClr val="EBEBD7"/>
          </a:solidFill>
          <a:ln w="6350" cap="flat">
            <a:noFill/>
            <a:prstDash val="solid"/>
            <a:miter/>
          </a:ln>
        </p:spPr>
        <p:txBody>
          <a:bodyPr rtlCol="0" anchor="ctr"/>
          <a:lstStyle/>
          <a:p>
            <a:endParaRPr lang="en-GB"/>
          </a:p>
        </p:txBody>
      </p:sp>
      <p:pic>
        <p:nvPicPr>
          <p:cNvPr id="15" name="Graphic 5">
            <a:extLst>
              <a:ext uri="{FF2B5EF4-FFF2-40B4-BE49-F238E27FC236}">
                <a16:creationId xmlns:a16="http://schemas.microsoft.com/office/drawing/2014/main" id="{81FACF3A-FD47-30EF-DAE9-F7140C923A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76613" y="584400"/>
            <a:ext cx="734400" cy="378216"/>
          </a:xfrm>
          <a:prstGeom prst="rect">
            <a:avLst/>
          </a:prstGeom>
        </p:spPr>
      </p:pic>
      <p:sp>
        <p:nvSpPr>
          <p:cNvPr id="11" name="Pladsholder til billede 10">
            <a:extLst>
              <a:ext uri="{FF2B5EF4-FFF2-40B4-BE49-F238E27FC236}">
                <a16:creationId xmlns:a16="http://schemas.microsoft.com/office/drawing/2014/main" id="{289DCE84-5DD2-4018-708A-0E161FF88223}"/>
              </a:ext>
            </a:extLst>
          </p:cNvPr>
          <p:cNvSpPr>
            <a:spLocks noGrp="1"/>
          </p:cNvSpPr>
          <p:nvPr>
            <p:ph type="pic" sz="quarter" idx="12" hasCustomPrompt="1"/>
          </p:nvPr>
        </p:nvSpPr>
        <p:spPr>
          <a:xfrm>
            <a:off x="7576122" y="0"/>
            <a:ext cx="4615879" cy="6858000"/>
          </a:xfrm>
          <a:custGeom>
            <a:avLst/>
            <a:gdLst>
              <a:gd name="connsiteX0" fmla="*/ 1624838 w 4615879"/>
              <a:gd name="connsiteY0" fmla="*/ 0 h 6858000"/>
              <a:gd name="connsiteX1" fmla="*/ 4615879 w 4615879"/>
              <a:gd name="connsiteY1" fmla="*/ 0 h 6858000"/>
              <a:gd name="connsiteX2" fmla="*/ 4615879 w 4615879"/>
              <a:gd name="connsiteY2" fmla="*/ 6858000 h 6858000"/>
              <a:gd name="connsiteX3" fmla="*/ 2445576 w 4615879"/>
              <a:gd name="connsiteY3" fmla="*/ 6858000 h 6858000"/>
              <a:gd name="connsiteX4" fmla="*/ 1286764 w 4615879"/>
              <a:gd name="connsiteY4" fmla="*/ 4045458 h 6858000"/>
              <a:gd name="connsiteX5" fmla="*/ 0 w 4615879"/>
              <a:gd name="connsiteY5" fmla="*/ 404545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5879" h="6858000">
                <a:moveTo>
                  <a:pt x="1624838" y="0"/>
                </a:moveTo>
                <a:lnTo>
                  <a:pt x="4615879" y="0"/>
                </a:lnTo>
                <a:lnTo>
                  <a:pt x="4615879" y="6858000"/>
                </a:lnTo>
                <a:lnTo>
                  <a:pt x="2445576" y="6858000"/>
                </a:lnTo>
                <a:lnTo>
                  <a:pt x="1286764" y="4045458"/>
                </a:lnTo>
                <a:lnTo>
                  <a:pt x="0" y="4045458"/>
                </a:lnTo>
                <a:close/>
              </a:path>
            </a:pathLst>
          </a:custGeom>
          <a:solidFill>
            <a:schemeClr val="tx2"/>
          </a:solidFill>
        </p:spPr>
        <p:txBody>
          <a:bodyPr wrap="square" anchor="ctr">
            <a:noAutofit/>
          </a:bodyPr>
          <a:lstStyle>
            <a:lvl1pPr algn="ctr">
              <a:defRPr/>
            </a:lvl1pPr>
          </a:lstStyle>
          <a:p>
            <a:r>
              <a:rPr lang="en-GB" err="1"/>
              <a:t>Klik</a:t>
            </a:r>
            <a:r>
              <a:rPr lang="en-GB"/>
              <a:t> </a:t>
            </a:r>
            <a:r>
              <a:rPr lang="en-GB" err="1"/>
              <a:t>på</a:t>
            </a:r>
            <a:r>
              <a:rPr lang="en-GB"/>
              <a:t> </a:t>
            </a:r>
            <a:r>
              <a:rPr lang="en-GB" err="1"/>
              <a:t>ikonet</a:t>
            </a:r>
            <a:r>
              <a:rPr lang="en-GB"/>
              <a:t> for at </a:t>
            </a:r>
            <a:r>
              <a:rPr lang="en-GB" err="1"/>
              <a:t>tilføje</a:t>
            </a:r>
            <a:r>
              <a:rPr lang="en-GB"/>
              <a:t> et </a:t>
            </a:r>
            <a:r>
              <a:rPr lang="en-GB" err="1"/>
              <a:t>billede</a:t>
            </a:r>
            <a:endParaRPr lang="en-GB"/>
          </a:p>
        </p:txBody>
      </p:sp>
      <p:sp>
        <p:nvSpPr>
          <p:cNvPr id="5" name="Title 1">
            <a:extLst>
              <a:ext uri="{FF2B5EF4-FFF2-40B4-BE49-F238E27FC236}">
                <a16:creationId xmlns:a16="http://schemas.microsoft.com/office/drawing/2014/main" id="{5B850F82-B942-1F34-C66A-024FE28DC615}"/>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tx1"/>
                </a:solidFill>
              </a:defRPr>
            </a:lvl1pPr>
          </a:lstStyle>
          <a:p>
            <a:r>
              <a:rPr lang="en-GB" err="1"/>
              <a:t>Overskrift</a:t>
            </a:r>
            <a:br>
              <a:rPr lang="en-GB"/>
            </a:br>
            <a:r>
              <a:rPr lang="en-GB"/>
              <a:t>max 2 </a:t>
            </a:r>
            <a:r>
              <a:rPr lang="en-GB" err="1"/>
              <a:t>linjer</a:t>
            </a:r>
            <a:endParaRPr lang="en-GB"/>
          </a:p>
        </p:txBody>
      </p:sp>
      <p:sp>
        <p:nvSpPr>
          <p:cNvPr id="6" name="Subtitle 2">
            <a:extLst>
              <a:ext uri="{FF2B5EF4-FFF2-40B4-BE49-F238E27FC236}">
                <a16:creationId xmlns:a16="http://schemas.microsoft.com/office/drawing/2014/main" id="{047B5869-CEC3-DC3E-E283-B2098414FB70}"/>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
        <p:nvSpPr>
          <p:cNvPr id="7" name="Slide Number Placeholder 5">
            <a:extLst>
              <a:ext uri="{FF2B5EF4-FFF2-40B4-BE49-F238E27FC236}">
                <a16:creationId xmlns:a16="http://schemas.microsoft.com/office/drawing/2014/main" id="{6E80F80C-A683-5ED6-A953-25D57110B0C6}"/>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9756530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B496C7-1A92-3540-8E01-0BF92EB1E5A8}"/>
              </a:ext>
            </a:extLst>
          </p:cNvPr>
          <p:cNvGraphicFramePr>
            <a:graphicFrameLocks noChangeAspect="1"/>
          </p:cNvGraphicFramePr>
          <p:nvPr userDrawn="1">
            <p:custDataLst>
              <p:tags r:id="rId1"/>
            </p:custDataLst>
            <p:extLst>
              <p:ext uri="{D42A27DB-BD31-4B8C-83A1-F6EECF244321}">
                <p14:modId xmlns:p14="http://schemas.microsoft.com/office/powerpoint/2010/main" val="66535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D1B496C7-1A92-3540-8E01-0BF92EB1E5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p:txBody>
          <a:bodyPr vert="horz"/>
          <a:lstStyle>
            <a:lvl1pPr>
              <a:defRPr>
                <a:solidFill>
                  <a:schemeClr val="bg1"/>
                </a:solidFill>
              </a:defRPr>
            </a:lvl1pPr>
          </a:lstStyle>
          <a:p>
            <a:r>
              <a:rPr lang="en-GB"/>
              <a:t>Agenda (</a:t>
            </a:r>
            <a:r>
              <a:rPr lang="en-GB" err="1"/>
              <a:t>Klik</a:t>
            </a:r>
            <a:r>
              <a:rPr lang="en-GB"/>
              <a:t> for at </a:t>
            </a:r>
            <a:r>
              <a:rPr lang="en-GB" err="1"/>
              <a:t>ændre</a:t>
            </a:r>
            <a:r>
              <a:rPr lang="en-GB"/>
              <a:t> </a:t>
            </a:r>
            <a:r>
              <a:rPr lang="en-GB" err="1"/>
              <a:t>overskrift</a:t>
            </a:r>
            <a:r>
              <a:rPr lang="en-GB"/>
              <a:t>)</a:t>
            </a:r>
          </a:p>
        </p:txBody>
      </p:sp>
      <p:pic>
        <p:nvPicPr>
          <p:cNvPr id="7" name="Graphic 5">
            <a:extLst>
              <a:ext uri="{FF2B5EF4-FFF2-40B4-BE49-F238E27FC236}">
                <a16:creationId xmlns:a16="http://schemas.microsoft.com/office/drawing/2014/main" id="{21CD1B7E-FEC6-5D6C-92B2-ABE378767B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5" name="Slide Number Placeholder 5">
            <a:extLst>
              <a:ext uri="{FF2B5EF4-FFF2-40B4-BE49-F238E27FC236}">
                <a16:creationId xmlns:a16="http://schemas.microsoft.com/office/drawing/2014/main" id="{52DFB315-87C8-8749-06F0-8885103AB37F}"/>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
        <p:nvSpPr>
          <p:cNvPr id="4" name="Pladsholder til tekst 3">
            <a:extLst>
              <a:ext uri="{FF2B5EF4-FFF2-40B4-BE49-F238E27FC236}">
                <a16:creationId xmlns:a16="http://schemas.microsoft.com/office/drawing/2014/main" id="{8094FFC7-00A3-8193-D407-24E427D0B01D}"/>
              </a:ext>
            </a:extLst>
          </p:cNvPr>
          <p:cNvSpPr>
            <a:spLocks noGrp="1"/>
          </p:cNvSpPr>
          <p:nvPr>
            <p:ph type="body" sz="quarter" idx="10" hasCustomPrompt="1"/>
          </p:nvPr>
        </p:nvSpPr>
        <p:spPr>
          <a:xfrm>
            <a:off x="431800" y="2528888"/>
            <a:ext cx="9439275" cy="3381375"/>
          </a:xfrm>
        </p:spPr>
        <p:txBody>
          <a:bodyPr/>
          <a:lstStyle>
            <a:lvl1pPr>
              <a:lnSpc>
                <a:spcPct val="120000"/>
              </a:lnSpc>
              <a:buFont typeface="+mj-lt"/>
              <a:buAutoNum type="arabicPeriod"/>
              <a:defRPr sz="2400">
                <a:solidFill>
                  <a:schemeClr val="bg1"/>
                </a:solidFill>
              </a:defRPr>
            </a:lvl1pPr>
            <a:lvl2pPr>
              <a:lnSpc>
                <a:spcPct val="120000"/>
              </a:lnSpc>
              <a:buFont typeface="+mj-lt"/>
              <a:buAutoNum type="arabicPeriod"/>
              <a:defRPr sz="2400">
                <a:solidFill>
                  <a:schemeClr val="bg1"/>
                </a:solidFill>
              </a:defRPr>
            </a:lvl2pPr>
            <a:lvl3pPr marL="885825" indent="-342900">
              <a:lnSpc>
                <a:spcPct val="120000"/>
              </a:lnSpc>
              <a:buFont typeface="+mj-lt"/>
              <a:buAutoNum type="arabicPeriod"/>
              <a:defRPr sz="2400">
                <a:solidFill>
                  <a:schemeClr val="bg1"/>
                </a:solidFill>
              </a:defRPr>
            </a:lvl3pPr>
            <a:lvl4pPr marL="1238250" indent="-342900">
              <a:lnSpc>
                <a:spcPct val="120000"/>
              </a:lnSpc>
              <a:buFont typeface="+mj-lt"/>
              <a:buAutoNum type="arabicPeriod"/>
              <a:defRPr sz="2400">
                <a:solidFill>
                  <a:schemeClr val="bg1"/>
                </a:solidFill>
              </a:defRPr>
            </a:lvl4pPr>
            <a:lvl5pPr marL="1509713" indent="-342900">
              <a:lnSpc>
                <a:spcPct val="120000"/>
              </a:lnSpc>
              <a:buFont typeface="+mj-lt"/>
              <a:buAutoNum type="arabicPeriod"/>
              <a:defRPr sz="2400">
                <a:solidFill>
                  <a:schemeClr val="bg1"/>
                </a:solidFill>
              </a:defRPr>
            </a:lvl5pPr>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Tree>
    <p:extLst>
      <p:ext uri="{BB962C8B-B14F-4D97-AF65-F5344CB8AC3E}">
        <p14:creationId xmlns:p14="http://schemas.microsoft.com/office/powerpoint/2010/main" val="2245557561"/>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Agenda 2">
    <p:bg>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24780E-A593-B06F-F348-2B533B7B60AC}"/>
              </a:ext>
            </a:extLst>
          </p:cNvPr>
          <p:cNvGraphicFramePr>
            <a:graphicFrameLocks noChangeAspect="1"/>
          </p:cNvGraphicFramePr>
          <p:nvPr userDrawn="1">
            <p:custDataLst>
              <p:tags r:id="rId1"/>
            </p:custDataLst>
            <p:extLst>
              <p:ext uri="{D42A27DB-BD31-4B8C-83A1-F6EECF244321}">
                <p14:modId xmlns:p14="http://schemas.microsoft.com/office/powerpoint/2010/main" val="9636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2624780E-A593-B06F-F348-2B533B7B6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p:txBody>
          <a:bodyPr vert="horz"/>
          <a:lstStyle>
            <a:lvl1pPr>
              <a:defRPr>
                <a:solidFill>
                  <a:schemeClr val="tx1"/>
                </a:solidFill>
              </a:defRPr>
            </a:lvl1pPr>
          </a:lstStyle>
          <a:p>
            <a:r>
              <a:rPr lang="en-GB"/>
              <a:t>Agenda (</a:t>
            </a:r>
            <a:r>
              <a:rPr lang="en-GB" err="1"/>
              <a:t>Klik</a:t>
            </a:r>
            <a:r>
              <a:rPr lang="en-GB"/>
              <a:t> for at </a:t>
            </a:r>
            <a:r>
              <a:rPr lang="en-GB" err="1"/>
              <a:t>ændre</a:t>
            </a:r>
            <a:r>
              <a:rPr lang="en-GB"/>
              <a:t> </a:t>
            </a:r>
            <a:r>
              <a:rPr lang="en-GB" err="1"/>
              <a:t>overskrift</a:t>
            </a:r>
            <a:r>
              <a:rPr lang="en-GB"/>
              <a:t>)</a:t>
            </a:r>
          </a:p>
        </p:txBody>
      </p:sp>
      <p:pic>
        <p:nvPicPr>
          <p:cNvPr id="7" name="Graphic 5">
            <a:extLst>
              <a:ext uri="{FF2B5EF4-FFF2-40B4-BE49-F238E27FC236}">
                <a16:creationId xmlns:a16="http://schemas.microsoft.com/office/drawing/2014/main" id="{21CD1B7E-FEC6-5D6C-92B2-ABE378767B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123C5046-4C6C-59AA-DBE8-D4C3A1E6259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pic>
        <p:nvPicPr>
          <p:cNvPr id="4" name="Graphic 5">
            <a:extLst>
              <a:ext uri="{FF2B5EF4-FFF2-40B4-BE49-F238E27FC236}">
                <a16:creationId xmlns:a16="http://schemas.microsoft.com/office/drawing/2014/main" id="{045AD00E-E35A-F028-4852-05834E8CB3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4213" y="432000"/>
            <a:ext cx="734400" cy="378216"/>
          </a:xfrm>
          <a:prstGeom prst="rect">
            <a:avLst/>
          </a:prstGeom>
        </p:spPr>
      </p:pic>
      <p:sp>
        <p:nvSpPr>
          <p:cNvPr id="6" name="Pladsholder til tekst 5">
            <a:extLst>
              <a:ext uri="{FF2B5EF4-FFF2-40B4-BE49-F238E27FC236}">
                <a16:creationId xmlns:a16="http://schemas.microsoft.com/office/drawing/2014/main" id="{93C38F4C-30DF-C1E3-3C3F-DC1B19640C21}"/>
              </a:ext>
            </a:extLst>
          </p:cNvPr>
          <p:cNvSpPr>
            <a:spLocks noGrp="1"/>
          </p:cNvSpPr>
          <p:nvPr>
            <p:ph type="body" sz="quarter" idx="10" hasCustomPrompt="1"/>
          </p:nvPr>
        </p:nvSpPr>
        <p:spPr>
          <a:xfrm>
            <a:off x="431800" y="2162175"/>
            <a:ext cx="9439275" cy="3614738"/>
          </a:xfrm>
        </p:spPr>
        <p:txBody>
          <a:bodyPr/>
          <a:lstStyle>
            <a:lvl1pPr>
              <a:lnSpc>
                <a:spcPct val="120000"/>
              </a:lnSpc>
              <a:buClr>
                <a:srgbClr val="66F58A"/>
              </a:buClr>
              <a:defRPr sz="2400"/>
            </a:lvl1pPr>
            <a:lvl2pPr>
              <a:lnSpc>
                <a:spcPct val="120000"/>
              </a:lnSpc>
              <a:buClr>
                <a:srgbClr val="66F58A"/>
              </a:buClr>
              <a:defRPr sz="2400"/>
            </a:lvl2pPr>
            <a:lvl3pPr>
              <a:lnSpc>
                <a:spcPct val="120000"/>
              </a:lnSpc>
              <a:buClr>
                <a:srgbClr val="66F58A"/>
              </a:buClr>
              <a:defRPr sz="2400"/>
            </a:lvl3pPr>
            <a:lvl4pPr>
              <a:lnSpc>
                <a:spcPct val="120000"/>
              </a:lnSpc>
              <a:buClr>
                <a:srgbClr val="66F58A"/>
              </a:buClr>
              <a:defRPr sz="2400"/>
            </a:lvl4pPr>
            <a:lvl5pPr>
              <a:lnSpc>
                <a:spcPct val="120000"/>
              </a:lnSpc>
              <a:buClr>
                <a:srgbClr val="66F58A"/>
              </a:buClr>
              <a:defRPr sz="2400"/>
            </a:lvl5pPr>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Tree>
    <p:extLst>
      <p:ext uri="{BB962C8B-B14F-4D97-AF65-F5344CB8AC3E}">
        <p14:creationId xmlns:p14="http://schemas.microsoft.com/office/powerpoint/2010/main" val="3162209741"/>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genda 3 m. billede">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C3A233-AF98-12DE-BBEB-5B278C51AAAD}"/>
              </a:ext>
            </a:extLst>
          </p:cNvPr>
          <p:cNvGraphicFramePr>
            <a:graphicFrameLocks noChangeAspect="1"/>
          </p:cNvGraphicFramePr>
          <p:nvPr userDrawn="1">
            <p:custDataLst>
              <p:tags r:id="rId1"/>
            </p:custDataLst>
            <p:extLst>
              <p:ext uri="{D42A27DB-BD31-4B8C-83A1-F6EECF244321}">
                <p14:modId xmlns:p14="http://schemas.microsoft.com/office/powerpoint/2010/main" val="2445991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B1C3A233-AF98-12DE-BBEB-5B278C51A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7ABF835-772F-939C-1426-D5F1F1B2FAD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9" y="1081617"/>
            <a:ext cx="5662613" cy="1080000"/>
          </a:xfrm>
        </p:spPr>
        <p:txBody>
          <a:bodyPr vert="horz"/>
          <a:lstStyle/>
          <a:p>
            <a:r>
              <a:rPr lang="en-GB"/>
              <a:t>Agenda</a:t>
            </a:r>
          </a:p>
        </p:txBody>
      </p:sp>
      <p:sp>
        <p:nvSpPr>
          <p:cNvPr id="6" name="Slide Number Placeholder 5">
            <a:extLst>
              <a:ext uri="{FF2B5EF4-FFF2-40B4-BE49-F238E27FC236}">
                <a16:creationId xmlns:a16="http://schemas.microsoft.com/office/drawing/2014/main" id="{D33FFB37-073B-7316-450C-DBB23F6FB0CC}"/>
              </a:ext>
            </a:extLst>
          </p:cNvPr>
          <p:cNvSpPr>
            <a:spLocks noGrp="1"/>
          </p:cNvSpPr>
          <p:nvPr>
            <p:ph type="sldNum" sz="quarter" idx="12"/>
          </p:nvPr>
        </p:nvSpPr>
        <p:spPr/>
        <p:txBody>
          <a:bodyPr/>
          <a:lstStyle/>
          <a:p>
            <a:fld id="{FA9C6259-F55B-47A6-AB0B-9E9F0835A2F0}" type="slidenum">
              <a:rPr lang="en-GB" smtClean="0"/>
              <a:t>‹#›</a:t>
            </a:fld>
            <a:endParaRPr lang="en-GB"/>
          </a:p>
        </p:txBody>
      </p:sp>
      <p:sp>
        <p:nvSpPr>
          <p:cNvPr id="8" name="Picture Placeholder 7">
            <a:extLst>
              <a:ext uri="{FF2B5EF4-FFF2-40B4-BE49-F238E27FC236}">
                <a16:creationId xmlns:a16="http://schemas.microsoft.com/office/drawing/2014/main" id="{AE9AAB7B-B47E-C2C9-EFCF-2553C7E9A2CF}"/>
              </a:ext>
            </a:extLst>
          </p:cNvPr>
          <p:cNvSpPr>
            <a:spLocks noGrp="1"/>
          </p:cNvSpPr>
          <p:nvPr>
            <p:ph type="pic" sz="quarter" idx="13" hasCustomPrompt="1"/>
          </p:nvPr>
        </p:nvSpPr>
        <p:spPr>
          <a:xfrm>
            <a:off x="6938889" y="-3311"/>
            <a:ext cx="5253110" cy="6861310"/>
          </a:xfrm>
          <a:custGeom>
            <a:avLst/>
            <a:gdLst>
              <a:gd name="connsiteX0" fmla="*/ 0 w 5382408"/>
              <a:gd name="connsiteY0" fmla="*/ 0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0 w 5382408"/>
              <a:gd name="connsiteY7" fmla="*/ 0 h 6858000"/>
              <a:gd name="connsiteX8" fmla="*/ 0 w 5382408"/>
              <a:gd name="connsiteY8" fmla="*/ 0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0 w 5382408"/>
              <a:gd name="connsiteY7" fmla="*/ 0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1118795 w 5382408"/>
              <a:gd name="connsiteY6" fmla="*/ 6847243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1118795 w 5382408"/>
              <a:gd name="connsiteY6" fmla="*/ 6847243 h 6858000"/>
              <a:gd name="connsiteX7" fmla="*/ 129091 w 5382408"/>
              <a:gd name="connsiteY7" fmla="*/ 2162287 h 6858000"/>
              <a:gd name="connsiteX8" fmla="*/ 2065468 w 5382408"/>
              <a:gd name="connsiteY8" fmla="*/ 10758 h 6858000"/>
              <a:gd name="connsiteX0" fmla="*/ 1946431 w 5263371"/>
              <a:gd name="connsiteY0" fmla="*/ 10758 h 6858000"/>
              <a:gd name="connsiteX1" fmla="*/ 5263371 w 5263371"/>
              <a:gd name="connsiteY1" fmla="*/ 0 h 6858000"/>
              <a:gd name="connsiteX2" fmla="*/ 5263371 w 5263371"/>
              <a:gd name="connsiteY2" fmla="*/ 0 h 6858000"/>
              <a:gd name="connsiteX3" fmla="*/ 5263371 w 5263371"/>
              <a:gd name="connsiteY3" fmla="*/ 6858000 h 6858000"/>
              <a:gd name="connsiteX4" fmla="*/ 5263371 w 5263371"/>
              <a:gd name="connsiteY4" fmla="*/ 6858000 h 6858000"/>
              <a:gd name="connsiteX5" fmla="*/ 2097038 w 5263371"/>
              <a:gd name="connsiteY5" fmla="*/ 6847242 h 6858000"/>
              <a:gd name="connsiteX6" fmla="*/ 999758 w 5263371"/>
              <a:gd name="connsiteY6" fmla="*/ 6847243 h 6858000"/>
              <a:gd name="connsiteX7" fmla="*/ 10054 w 5263371"/>
              <a:gd name="connsiteY7" fmla="*/ 2162287 h 6858000"/>
              <a:gd name="connsiteX8" fmla="*/ 1946431 w 5263371"/>
              <a:gd name="connsiteY8" fmla="*/ 10758 h 6858000"/>
              <a:gd name="connsiteX0" fmla="*/ 1946982 w 5263922"/>
              <a:gd name="connsiteY0" fmla="*/ 10758 h 6858000"/>
              <a:gd name="connsiteX1" fmla="*/ 5263922 w 5263922"/>
              <a:gd name="connsiteY1" fmla="*/ 0 h 6858000"/>
              <a:gd name="connsiteX2" fmla="*/ 5263922 w 5263922"/>
              <a:gd name="connsiteY2" fmla="*/ 0 h 6858000"/>
              <a:gd name="connsiteX3" fmla="*/ 5263922 w 5263922"/>
              <a:gd name="connsiteY3" fmla="*/ 6858000 h 6858000"/>
              <a:gd name="connsiteX4" fmla="*/ 5263922 w 5263922"/>
              <a:gd name="connsiteY4" fmla="*/ 6858000 h 6858000"/>
              <a:gd name="connsiteX5" fmla="*/ 2097589 w 5263922"/>
              <a:gd name="connsiteY5" fmla="*/ 6847242 h 6858000"/>
              <a:gd name="connsiteX6" fmla="*/ 978794 w 5263922"/>
              <a:gd name="connsiteY6" fmla="*/ 6858000 h 6858000"/>
              <a:gd name="connsiteX7" fmla="*/ 10605 w 5263922"/>
              <a:gd name="connsiteY7" fmla="*/ 2162287 h 6858000"/>
              <a:gd name="connsiteX8" fmla="*/ 1946982 w 5263922"/>
              <a:gd name="connsiteY8" fmla="*/ 10758 h 6858000"/>
              <a:gd name="connsiteX0" fmla="*/ 1946982 w 5263922"/>
              <a:gd name="connsiteY0" fmla="*/ 10758 h 6858000"/>
              <a:gd name="connsiteX1" fmla="*/ 5263922 w 5263922"/>
              <a:gd name="connsiteY1" fmla="*/ 0 h 6858000"/>
              <a:gd name="connsiteX2" fmla="*/ 5263922 w 5263922"/>
              <a:gd name="connsiteY2" fmla="*/ 0 h 6858000"/>
              <a:gd name="connsiteX3" fmla="*/ 5263922 w 5263922"/>
              <a:gd name="connsiteY3" fmla="*/ 6858000 h 6858000"/>
              <a:gd name="connsiteX4" fmla="*/ 5263922 w 5263922"/>
              <a:gd name="connsiteY4" fmla="*/ 6858000 h 6858000"/>
              <a:gd name="connsiteX5" fmla="*/ 978794 w 5263922"/>
              <a:gd name="connsiteY5" fmla="*/ 6858000 h 6858000"/>
              <a:gd name="connsiteX6" fmla="*/ 10605 w 5263922"/>
              <a:gd name="connsiteY6" fmla="*/ 2162287 h 6858000"/>
              <a:gd name="connsiteX7" fmla="*/ 1946982 w 5263922"/>
              <a:gd name="connsiteY7" fmla="*/ 10758 h 6858000"/>
              <a:gd name="connsiteX0" fmla="*/ 1936957 w 5253897"/>
              <a:gd name="connsiteY0" fmla="*/ 10758 h 6858000"/>
              <a:gd name="connsiteX1" fmla="*/ 5253897 w 5253897"/>
              <a:gd name="connsiteY1" fmla="*/ 0 h 6858000"/>
              <a:gd name="connsiteX2" fmla="*/ 5253897 w 5253897"/>
              <a:gd name="connsiteY2" fmla="*/ 0 h 6858000"/>
              <a:gd name="connsiteX3" fmla="*/ 5253897 w 5253897"/>
              <a:gd name="connsiteY3" fmla="*/ 6858000 h 6858000"/>
              <a:gd name="connsiteX4" fmla="*/ 5253897 w 5253897"/>
              <a:gd name="connsiteY4" fmla="*/ 6858000 h 6858000"/>
              <a:gd name="connsiteX5" fmla="*/ 968769 w 5253897"/>
              <a:gd name="connsiteY5" fmla="*/ 6858000 h 6858000"/>
              <a:gd name="connsiteX6" fmla="*/ 580 w 5253897"/>
              <a:gd name="connsiteY6" fmla="*/ 2162287 h 6858000"/>
              <a:gd name="connsiteX7" fmla="*/ 1936957 w 5253897"/>
              <a:gd name="connsiteY7" fmla="*/ 10758 h 6858000"/>
              <a:gd name="connsiteX0" fmla="*/ 1937335 w 5254275"/>
              <a:gd name="connsiteY0" fmla="*/ 10758 h 6858000"/>
              <a:gd name="connsiteX1" fmla="*/ 5254275 w 5254275"/>
              <a:gd name="connsiteY1" fmla="*/ 0 h 6858000"/>
              <a:gd name="connsiteX2" fmla="*/ 5254275 w 5254275"/>
              <a:gd name="connsiteY2" fmla="*/ 0 h 6858000"/>
              <a:gd name="connsiteX3" fmla="*/ 5254275 w 5254275"/>
              <a:gd name="connsiteY3" fmla="*/ 6858000 h 6858000"/>
              <a:gd name="connsiteX4" fmla="*/ 5254275 w 5254275"/>
              <a:gd name="connsiteY4" fmla="*/ 6858000 h 6858000"/>
              <a:gd name="connsiteX5" fmla="*/ 969147 w 5254275"/>
              <a:gd name="connsiteY5" fmla="*/ 6858000 h 6858000"/>
              <a:gd name="connsiteX6" fmla="*/ 958 w 5254275"/>
              <a:gd name="connsiteY6" fmla="*/ 2162287 h 6858000"/>
              <a:gd name="connsiteX7" fmla="*/ 1937335 w 5254275"/>
              <a:gd name="connsiteY7" fmla="*/ 10758 h 6858000"/>
              <a:gd name="connsiteX0" fmla="*/ 1937335 w 5254275"/>
              <a:gd name="connsiteY0" fmla="*/ 24344 h 6871586"/>
              <a:gd name="connsiteX1" fmla="*/ 5254275 w 5254275"/>
              <a:gd name="connsiteY1" fmla="*/ 13586 h 6871586"/>
              <a:gd name="connsiteX2" fmla="*/ 5254275 w 5254275"/>
              <a:gd name="connsiteY2" fmla="*/ 13586 h 6871586"/>
              <a:gd name="connsiteX3" fmla="*/ 5254275 w 5254275"/>
              <a:gd name="connsiteY3" fmla="*/ 6871586 h 6871586"/>
              <a:gd name="connsiteX4" fmla="*/ 5254275 w 5254275"/>
              <a:gd name="connsiteY4" fmla="*/ 6871586 h 6871586"/>
              <a:gd name="connsiteX5" fmla="*/ 969147 w 5254275"/>
              <a:gd name="connsiteY5" fmla="*/ 6871586 h 6871586"/>
              <a:gd name="connsiteX6" fmla="*/ 958 w 5254275"/>
              <a:gd name="connsiteY6" fmla="*/ 2175873 h 6871586"/>
              <a:gd name="connsiteX7" fmla="*/ 1937335 w 5254275"/>
              <a:gd name="connsiteY7" fmla="*/ 24344 h 6871586"/>
              <a:gd name="connsiteX0" fmla="*/ 1937122 w 5254062"/>
              <a:gd name="connsiteY0" fmla="*/ 10758 h 6858000"/>
              <a:gd name="connsiteX1" fmla="*/ 5254062 w 5254062"/>
              <a:gd name="connsiteY1" fmla="*/ 0 h 6858000"/>
              <a:gd name="connsiteX2" fmla="*/ 5254062 w 5254062"/>
              <a:gd name="connsiteY2" fmla="*/ 0 h 6858000"/>
              <a:gd name="connsiteX3" fmla="*/ 5254062 w 5254062"/>
              <a:gd name="connsiteY3" fmla="*/ 6858000 h 6858000"/>
              <a:gd name="connsiteX4" fmla="*/ 5254062 w 5254062"/>
              <a:gd name="connsiteY4" fmla="*/ 6858000 h 6858000"/>
              <a:gd name="connsiteX5" fmla="*/ 968934 w 5254062"/>
              <a:gd name="connsiteY5" fmla="*/ 6858000 h 6858000"/>
              <a:gd name="connsiteX6" fmla="*/ 745 w 5254062"/>
              <a:gd name="connsiteY6" fmla="*/ 2162287 h 6858000"/>
              <a:gd name="connsiteX7" fmla="*/ 1937122 w 5254062"/>
              <a:gd name="connsiteY7" fmla="*/ 10758 h 6858000"/>
              <a:gd name="connsiteX0" fmla="*/ 1936377 w 5253317"/>
              <a:gd name="connsiteY0" fmla="*/ 10758 h 6858000"/>
              <a:gd name="connsiteX1" fmla="*/ 5253317 w 5253317"/>
              <a:gd name="connsiteY1" fmla="*/ 0 h 6858000"/>
              <a:gd name="connsiteX2" fmla="*/ 5253317 w 5253317"/>
              <a:gd name="connsiteY2" fmla="*/ 0 h 6858000"/>
              <a:gd name="connsiteX3" fmla="*/ 5253317 w 5253317"/>
              <a:gd name="connsiteY3" fmla="*/ 6858000 h 6858000"/>
              <a:gd name="connsiteX4" fmla="*/ 5253317 w 5253317"/>
              <a:gd name="connsiteY4" fmla="*/ 6858000 h 6858000"/>
              <a:gd name="connsiteX5" fmla="*/ 968189 w 5253317"/>
              <a:gd name="connsiteY5" fmla="*/ 6858000 h 6858000"/>
              <a:gd name="connsiteX6" fmla="*/ 0 w 5253317"/>
              <a:gd name="connsiteY6" fmla="*/ 2162287 h 6858000"/>
              <a:gd name="connsiteX7" fmla="*/ 1936377 w 5253317"/>
              <a:gd name="connsiteY7" fmla="*/ 10758 h 6858000"/>
              <a:gd name="connsiteX0" fmla="*/ 1925620 w 5242560"/>
              <a:gd name="connsiteY0" fmla="*/ 170953 h 7018195"/>
              <a:gd name="connsiteX1" fmla="*/ 5242560 w 5242560"/>
              <a:gd name="connsiteY1" fmla="*/ 160195 h 7018195"/>
              <a:gd name="connsiteX2" fmla="*/ 5242560 w 5242560"/>
              <a:gd name="connsiteY2" fmla="*/ 160195 h 7018195"/>
              <a:gd name="connsiteX3" fmla="*/ 5242560 w 5242560"/>
              <a:gd name="connsiteY3" fmla="*/ 7018195 h 7018195"/>
              <a:gd name="connsiteX4" fmla="*/ 5242560 w 5242560"/>
              <a:gd name="connsiteY4" fmla="*/ 7018195 h 7018195"/>
              <a:gd name="connsiteX5" fmla="*/ 957432 w 5242560"/>
              <a:gd name="connsiteY5" fmla="*/ 7018195 h 7018195"/>
              <a:gd name="connsiteX6" fmla="*/ 0 w 5242560"/>
              <a:gd name="connsiteY6" fmla="*/ 2440816 h 7018195"/>
              <a:gd name="connsiteX7" fmla="*/ 1925620 w 5242560"/>
              <a:gd name="connsiteY7" fmla="*/ 170953 h 7018195"/>
              <a:gd name="connsiteX0" fmla="*/ 1925620 w 5242560"/>
              <a:gd name="connsiteY0" fmla="*/ 170953 h 7018195"/>
              <a:gd name="connsiteX1" fmla="*/ 5242560 w 5242560"/>
              <a:gd name="connsiteY1" fmla="*/ 160195 h 7018195"/>
              <a:gd name="connsiteX2" fmla="*/ 5242560 w 5242560"/>
              <a:gd name="connsiteY2" fmla="*/ 160195 h 7018195"/>
              <a:gd name="connsiteX3" fmla="*/ 5242560 w 5242560"/>
              <a:gd name="connsiteY3" fmla="*/ 7018195 h 7018195"/>
              <a:gd name="connsiteX4" fmla="*/ 5242560 w 5242560"/>
              <a:gd name="connsiteY4" fmla="*/ 7018195 h 7018195"/>
              <a:gd name="connsiteX5" fmla="*/ 957432 w 5242560"/>
              <a:gd name="connsiteY5" fmla="*/ 7018195 h 7018195"/>
              <a:gd name="connsiteX6" fmla="*/ 0 w 5242560"/>
              <a:gd name="connsiteY6" fmla="*/ 2440816 h 7018195"/>
              <a:gd name="connsiteX7" fmla="*/ 1925620 w 5242560"/>
              <a:gd name="connsiteY7" fmla="*/ 170953 h 7018195"/>
              <a:gd name="connsiteX0" fmla="*/ 1925620 w 5242560"/>
              <a:gd name="connsiteY0" fmla="*/ 10758 h 6858000"/>
              <a:gd name="connsiteX1" fmla="*/ 5242560 w 5242560"/>
              <a:gd name="connsiteY1" fmla="*/ 0 h 6858000"/>
              <a:gd name="connsiteX2" fmla="*/ 5242560 w 5242560"/>
              <a:gd name="connsiteY2" fmla="*/ 0 h 6858000"/>
              <a:gd name="connsiteX3" fmla="*/ 5242560 w 5242560"/>
              <a:gd name="connsiteY3" fmla="*/ 6858000 h 6858000"/>
              <a:gd name="connsiteX4" fmla="*/ 5242560 w 5242560"/>
              <a:gd name="connsiteY4" fmla="*/ 6858000 h 6858000"/>
              <a:gd name="connsiteX5" fmla="*/ 957432 w 5242560"/>
              <a:gd name="connsiteY5" fmla="*/ 6858000 h 6858000"/>
              <a:gd name="connsiteX6" fmla="*/ 0 w 5242560"/>
              <a:gd name="connsiteY6" fmla="*/ 2280621 h 6858000"/>
              <a:gd name="connsiteX7" fmla="*/ 1925620 w 5242560"/>
              <a:gd name="connsiteY7" fmla="*/ 10758 h 6858000"/>
              <a:gd name="connsiteX0" fmla="*/ 1925620 w 5242560"/>
              <a:gd name="connsiteY0" fmla="*/ 10758 h 6858000"/>
              <a:gd name="connsiteX1" fmla="*/ 5242560 w 5242560"/>
              <a:gd name="connsiteY1" fmla="*/ 0 h 6858000"/>
              <a:gd name="connsiteX2" fmla="*/ 5242560 w 5242560"/>
              <a:gd name="connsiteY2" fmla="*/ 0 h 6858000"/>
              <a:gd name="connsiteX3" fmla="*/ 5242560 w 5242560"/>
              <a:gd name="connsiteY3" fmla="*/ 6858000 h 6858000"/>
              <a:gd name="connsiteX4" fmla="*/ 5242560 w 5242560"/>
              <a:gd name="connsiteY4" fmla="*/ 6858000 h 6858000"/>
              <a:gd name="connsiteX5" fmla="*/ 957432 w 5242560"/>
              <a:gd name="connsiteY5" fmla="*/ 6858000 h 6858000"/>
              <a:gd name="connsiteX6" fmla="*/ 0 w 5242560"/>
              <a:gd name="connsiteY6" fmla="*/ 2280621 h 6858000"/>
              <a:gd name="connsiteX7" fmla="*/ 1925620 w 5242560"/>
              <a:gd name="connsiteY7" fmla="*/ 10758 h 6858000"/>
              <a:gd name="connsiteX0" fmla="*/ 1925836 w 5242776"/>
              <a:gd name="connsiteY0" fmla="*/ 10758 h 6858000"/>
              <a:gd name="connsiteX1" fmla="*/ 5242776 w 5242776"/>
              <a:gd name="connsiteY1" fmla="*/ 0 h 6858000"/>
              <a:gd name="connsiteX2" fmla="*/ 5242776 w 5242776"/>
              <a:gd name="connsiteY2" fmla="*/ 0 h 6858000"/>
              <a:gd name="connsiteX3" fmla="*/ 5242776 w 5242776"/>
              <a:gd name="connsiteY3" fmla="*/ 6858000 h 6858000"/>
              <a:gd name="connsiteX4" fmla="*/ 5242776 w 5242776"/>
              <a:gd name="connsiteY4" fmla="*/ 6858000 h 6858000"/>
              <a:gd name="connsiteX5" fmla="*/ 957648 w 5242776"/>
              <a:gd name="connsiteY5" fmla="*/ 6858000 h 6858000"/>
              <a:gd name="connsiteX6" fmla="*/ 216 w 5242776"/>
              <a:gd name="connsiteY6" fmla="*/ 2280621 h 6858000"/>
              <a:gd name="connsiteX7" fmla="*/ 1925836 w 5242776"/>
              <a:gd name="connsiteY7" fmla="*/ 10758 h 6858000"/>
              <a:gd name="connsiteX0" fmla="*/ 1925830 w 5242770"/>
              <a:gd name="connsiteY0" fmla="*/ 10758 h 6858000"/>
              <a:gd name="connsiteX1" fmla="*/ 5242770 w 5242770"/>
              <a:gd name="connsiteY1" fmla="*/ 0 h 6858000"/>
              <a:gd name="connsiteX2" fmla="*/ 5242770 w 5242770"/>
              <a:gd name="connsiteY2" fmla="*/ 0 h 6858000"/>
              <a:gd name="connsiteX3" fmla="*/ 5242770 w 5242770"/>
              <a:gd name="connsiteY3" fmla="*/ 6858000 h 6858000"/>
              <a:gd name="connsiteX4" fmla="*/ 5242770 w 5242770"/>
              <a:gd name="connsiteY4" fmla="*/ 6858000 h 6858000"/>
              <a:gd name="connsiteX5" fmla="*/ 957642 w 5242770"/>
              <a:gd name="connsiteY5" fmla="*/ 6858000 h 6858000"/>
              <a:gd name="connsiteX6" fmla="*/ 210 w 5242770"/>
              <a:gd name="connsiteY6" fmla="*/ 2280621 h 6858000"/>
              <a:gd name="connsiteX7" fmla="*/ 1925830 w 5242770"/>
              <a:gd name="connsiteY7" fmla="*/ 10758 h 6858000"/>
              <a:gd name="connsiteX0" fmla="*/ 1925830 w 5242770"/>
              <a:gd name="connsiteY0" fmla="*/ 177326 h 7024568"/>
              <a:gd name="connsiteX1" fmla="*/ 5242770 w 5242770"/>
              <a:gd name="connsiteY1" fmla="*/ 166568 h 7024568"/>
              <a:gd name="connsiteX2" fmla="*/ 5242770 w 5242770"/>
              <a:gd name="connsiteY2" fmla="*/ 166568 h 7024568"/>
              <a:gd name="connsiteX3" fmla="*/ 5242770 w 5242770"/>
              <a:gd name="connsiteY3" fmla="*/ 7024568 h 7024568"/>
              <a:gd name="connsiteX4" fmla="*/ 5242770 w 5242770"/>
              <a:gd name="connsiteY4" fmla="*/ 7024568 h 7024568"/>
              <a:gd name="connsiteX5" fmla="*/ 957642 w 5242770"/>
              <a:gd name="connsiteY5" fmla="*/ 7024568 h 7024568"/>
              <a:gd name="connsiteX6" fmla="*/ 210 w 5242770"/>
              <a:gd name="connsiteY6" fmla="*/ 2533250 h 7024568"/>
              <a:gd name="connsiteX7" fmla="*/ 1925830 w 5242770"/>
              <a:gd name="connsiteY7" fmla="*/ 177326 h 7024568"/>
              <a:gd name="connsiteX0" fmla="*/ 1915073 w 5232013"/>
              <a:gd name="connsiteY0" fmla="*/ 182107 h 7029349"/>
              <a:gd name="connsiteX1" fmla="*/ 5232013 w 5232013"/>
              <a:gd name="connsiteY1" fmla="*/ 171349 h 7029349"/>
              <a:gd name="connsiteX2" fmla="*/ 5232013 w 5232013"/>
              <a:gd name="connsiteY2" fmla="*/ 171349 h 7029349"/>
              <a:gd name="connsiteX3" fmla="*/ 5232013 w 5232013"/>
              <a:gd name="connsiteY3" fmla="*/ 7029349 h 7029349"/>
              <a:gd name="connsiteX4" fmla="*/ 5232013 w 5232013"/>
              <a:gd name="connsiteY4" fmla="*/ 7029349 h 7029349"/>
              <a:gd name="connsiteX5" fmla="*/ 946885 w 5232013"/>
              <a:gd name="connsiteY5" fmla="*/ 7029349 h 7029349"/>
              <a:gd name="connsiteX6" fmla="*/ 211 w 5232013"/>
              <a:gd name="connsiteY6" fmla="*/ 2602577 h 7029349"/>
              <a:gd name="connsiteX7" fmla="*/ 1915073 w 5232013"/>
              <a:gd name="connsiteY7" fmla="*/ 182107 h 7029349"/>
              <a:gd name="connsiteX0" fmla="*/ 1915073 w 5232013"/>
              <a:gd name="connsiteY0" fmla="*/ 15160 h 6862402"/>
              <a:gd name="connsiteX1" fmla="*/ 5232013 w 5232013"/>
              <a:gd name="connsiteY1" fmla="*/ 4402 h 6862402"/>
              <a:gd name="connsiteX2" fmla="*/ 5232013 w 5232013"/>
              <a:gd name="connsiteY2" fmla="*/ 4402 h 6862402"/>
              <a:gd name="connsiteX3" fmla="*/ 5232013 w 5232013"/>
              <a:gd name="connsiteY3" fmla="*/ 6862402 h 6862402"/>
              <a:gd name="connsiteX4" fmla="*/ 5232013 w 5232013"/>
              <a:gd name="connsiteY4" fmla="*/ 6862402 h 6862402"/>
              <a:gd name="connsiteX5" fmla="*/ 946885 w 5232013"/>
              <a:gd name="connsiteY5" fmla="*/ 6862402 h 6862402"/>
              <a:gd name="connsiteX6" fmla="*/ 211 w 5232013"/>
              <a:gd name="connsiteY6" fmla="*/ 2435630 h 6862402"/>
              <a:gd name="connsiteX7" fmla="*/ 1915073 w 5232013"/>
              <a:gd name="connsiteY7" fmla="*/ 15160 h 6862402"/>
              <a:gd name="connsiteX0" fmla="*/ 1915073 w 5232013"/>
              <a:gd name="connsiteY0" fmla="*/ 10758 h 6858000"/>
              <a:gd name="connsiteX1" fmla="*/ 5232013 w 5232013"/>
              <a:gd name="connsiteY1" fmla="*/ 0 h 6858000"/>
              <a:gd name="connsiteX2" fmla="*/ 5232013 w 5232013"/>
              <a:gd name="connsiteY2" fmla="*/ 0 h 6858000"/>
              <a:gd name="connsiteX3" fmla="*/ 5232013 w 5232013"/>
              <a:gd name="connsiteY3" fmla="*/ 6858000 h 6858000"/>
              <a:gd name="connsiteX4" fmla="*/ 5232013 w 5232013"/>
              <a:gd name="connsiteY4" fmla="*/ 6858000 h 6858000"/>
              <a:gd name="connsiteX5" fmla="*/ 946885 w 5232013"/>
              <a:gd name="connsiteY5" fmla="*/ 6858000 h 6858000"/>
              <a:gd name="connsiteX6" fmla="*/ 211 w 5232013"/>
              <a:gd name="connsiteY6" fmla="*/ 2431228 h 6858000"/>
              <a:gd name="connsiteX7" fmla="*/ 1915073 w 5232013"/>
              <a:gd name="connsiteY7" fmla="*/ 10758 h 6858000"/>
              <a:gd name="connsiteX0" fmla="*/ 1925288 w 5242228"/>
              <a:gd name="connsiteY0" fmla="*/ 0 h 6861310"/>
              <a:gd name="connsiteX1" fmla="*/ 5242228 w 5242228"/>
              <a:gd name="connsiteY1" fmla="*/ 3310 h 6861310"/>
              <a:gd name="connsiteX2" fmla="*/ 5242228 w 5242228"/>
              <a:gd name="connsiteY2" fmla="*/ 3310 h 6861310"/>
              <a:gd name="connsiteX3" fmla="*/ 5242228 w 5242228"/>
              <a:gd name="connsiteY3" fmla="*/ 6861310 h 6861310"/>
              <a:gd name="connsiteX4" fmla="*/ 5242228 w 5242228"/>
              <a:gd name="connsiteY4" fmla="*/ 6861310 h 6861310"/>
              <a:gd name="connsiteX5" fmla="*/ 957100 w 5242228"/>
              <a:gd name="connsiteY5" fmla="*/ 6861310 h 6861310"/>
              <a:gd name="connsiteX6" fmla="*/ 10426 w 5242228"/>
              <a:gd name="connsiteY6" fmla="*/ 2434538 h 6861310"/>
              <a:gd name="connsiteX7" fmla="*/ 1925288 w 5242228"/>
              <a:gd name="connsiteY7" fmla="*/ 0 h 6861310"/>
              <a:gd name="connsiteX0" fmla="*/ 2047375 w 5244740"/>
              <a:gd name="connsiteY0" fmla="*/ 0 h 6868344"/>
              <a:gd name="connsiteX1" fmla="*/ 5244740 w 5244740"/>
              <a:gd name="connsiteY1" fmla="*/ 10344 h 6868344"/>
              <a:gd name="connsiteX2" fmla="*/ 5244740 w 5244740"/>
              <a:gd name="connsiteY2" fmla="*/ 10344 h 6868344"/>
              <a:gd name="connsiteX3" fmla="*/ 5244740 w 5244740"/>
              <a:gd name="connsiteY3" fmla="*/ 6868344 h 6868344"/>
              <a:gd name="connsiteX4" fmla="*/ 5244740 w 5244740"/>
              <a:gd name="connsiteY4" fmla="*/ 6868344 h 6868344"/>
              <a:gd name="connsiteX5" fmla="*/ 959612 w 5244740"/>
              <a:gd name="connsiteY5" fmla="*/ 6868344 h 6868344"/>
              <a:gd name="connsiteX6" fmla="*/ 12938 w 5244740"/>
              <a:gd name="connsiteY6" fmla="*/ 2441572 h 6868344"/>
              <a:gd name="connsiteX7" fmla="*/ 2047375 w 5244740"/>
              <a:gd name="connsiteY7" fmla="*/ 0 h 6868344"/>
              <a:gd name="connsiteX0" fmla="*/ 2047375 w 5244740"/>
              <a:gd name="connsiteY0" fmla="*/ 0 h 6868344"/>
              <a:gd name="connsiteX1" fmla="*/ 5244740 w 5244740"/>
              <a:gd name="connsiteY1" fmla="*/ 10344 h 6868344"/>
              <a:gd name="connsiteX2" fmla="*/ 5244740 w 5244740"/>
              <a:gd name="connsiteY2" fmla="*/ 10344 h 6868344"/>
              <a:gd name="connsiteX3" fmla="*/ 5244740 w 5244740"/>
              <a:gd name="connsiteY3" fmla="*/ 6868344 h 6868344"/>
              <a:gd name="connsiteX4" fmla="*/ 5244740 w 5244740"/>
              <a:gd name="connsiteY4" fmla="*/ 6868344 h 6868344"/>
              <a:gd name="connsiteX5" fmla="*/ 959612 w 5244740"/>
              <a:gd name="connsiteY5" fmla="*/ 6868344 h 6868344"/>
              <a:gd name="connsiteX6" fmla="*/ 12938 w 5244740"/>
              <a:gd name="connsiteY6" fmla="*/ 2441572 h 6868344"/>
              <a:gd name="connsiteX7" fmla="*/ 2047375 w 5244740"/>
              <a:gd name="connsiteY7" fmla="*/ 0 h 6868344"/>
              <a:gd name="connsiteX0" fmla="*/ 2034451 w 5231816"/>
              <a:gd name="connsiteY0" fmla="*/ 0 h 6868344"/>
              <a:gd name="connsiteX1" fmla="*/ 5231816 w 5231816"/>
              <a:gd name="connsiteY1" fmla="*/ 10344 h 6868344"/>
              <a:gd name="connsiteX2" fmla="*/ 5231816 w 5231816"/>
              <a:gd name="connsiteY2" fmla="*/ 10344 h 6868344"/>
              <a:gd name="connsiteX3" fmla="*/ 5231816 w 5231816"/>
              <a:gd name="connsiteY3" fmla="*/ 6868344 h 6868344"/>
              <a:gd name="connsiteX4" fmla="*/ 5231816 w 5231816"/>
              <a:gd name="connsiteY4" fmla="*/ 6868344 h 6868344"/>
              <a:gd name="connsiteX5" fmla="*/ 946688 w 5231816"/>
              <a:gd name="connsiteY5" fmla="*/ 6868344 h 6868344"/>
              <a:gd name="connsiteX6" fmla="*/ 14 w 5231816"/>
              <a:gd name="connsiteY6" fmla="*/ 2441572 h 6868344"/>
              <a:gd name="connsiteX7" fmla="*/ 2034451 w 5231816"/>
              <a:gd name="connsiteY7" fmla="*/ 0 h 6868344"/>
              <a:gd name="connsiteX0" fmla="*/ 2034451 w 5231816"/>
              <a:gd name="connsiteY0" fmla="*/ 31 h 6868375"/>
              <a:gd name="connsiteX1" fmla="*/ 5231816 w 5231816"/>
              <a:gd name="connsiteY1" fmla="*/ 10375 h 6868375"/>
              <a:gd name="connsiteX2" fmla="*/ 5231816 w 5231816"/>
              <a:gd name="connsiteY2" fmla="*/ 10375 h 6868375"/>
              <a:gd name="connsiteX3" fmla="*/ 5231816 w 5231816"/>
              <a:gd name="connsiteY3" fmla="*/ 6868375 h 6868375"/>
              <a:gd name="connsiteX4" fmla="*/ 5231816 w 5231816"/>
              <a:gd name="connsiteY4" fmla="*/ 6868375 h 6868375"/>
              <a:gd name="connsiteX5" fmla="*/ 946688 w 5231816"/>
              <a:gd name="connsiteY5" fmla="*/ 6868375 h 6868375"/>
              <a:gd name="connsiteX6" fmla="*/ 14 w 5231816"/>
              <a:gd name="connsiteY6" fmla="*/ 2441603 h 6868375"/>
              <a:gd name="connsiteX7" fmla="*/ 2034451 w 5231816"/>
              <a:gd name="connsiteY7" fmla="*/ 31 h 6868375"/>
              <a:gd name="connsiteX0" fmla="*/ 2034451 w 5231816"/>
              <a:gd name="connsiteY0" fmla="*/ 165693 h 7034037"/>
              <a:gd name="connsiteX1" fmla="*/ 5231816 w 5231816"/>
              <a:gd name="connsiteY1" fmla="*/ 176037 h 7034037"/>
              <a:gd name="connsiteX2" fmla="*/ 5231816 w 5231816"/>
              <a:gd name="connsiteY2" fmla="*/ 176037 h 7034037"/>
              <a:gd name="connsiteX3" fmla="*/ 5231816 w 5231816"/>
              <a:gd name="connsiteY3" fmla="*/ 7034037 h 7034037"/>
              <a:gd name="connsiteX4" fmla="*/ 5231816 w 5231816"/>
              <a:gd name="connsiteY4" fmla="*/ 7034037 h 7034037"/>
              <a:gd name="connsiteX5" fmla="*/ 946688 w 5231816"/>
              <a:gd name="connsiteY5" fmla="*/ 7034037 h 7034037"/>
              <a:gd name="connsiteX6" fmla="*/ 14 w 5231816"/>
              <a:gd name="connsiteY6" fmla="*/ 2438453 h 7034037"/>
              <a:gd name="connsiteX7" fmla="*/ 2034451 w 5231816"/>
              <a:gd name="connsiteY7" fmla="*/ 165693 h 7034037"/>
              <a:gd name="connsiteX0" fmla="*/ 2047375 w 5244740"/>
              <a:gd name="connsiteY0" fmla="*/ 165693 h 7034037"/>
              <a:gd name="connsiteX1" fmla="*/ 5244740 w 5244740"/>
              <a:gd name="connsiteY1" fmla="*/ 176037 h 7034037"/>
              <a:gd name="connsiteX2" fmla="*/ 5244740 w 5244740"/>
              <a:gd name="connsiteY2" fmla="*/ 176037 h 7034037"/>
              <a:gd name="connsiteX3" fmla="*/ 5244740 w 5244740"/>
              <a:gd name="connsiteY3" fmla="*/ 7034037 h 7034037"/>
              <a:gd name="connsiteX4" fmla="*/ 5244740 w 5244740"/>
              <a:gd name="connsiteY4" fmla="*/ 7034037 h 7034037"/>
              <a:gd name="connsiteX5" fmla="*/ 959612 w 5244740"/>
              <a:gd name="connsiteY5" fmla="*/ 7034037 h 7034037"/>
              <a:gd name="connsiteX6" fmla="*/ 12938 w 5244740"/>
              <a:gd name="connsiteY6" fmla="*/ 2438453 h 7034037"/>
              <a:gd name="connsiteX7" fmla="*/ 2047375 w 5244740"/>
              <a:gd name="connsiteY7" fmla="*/ 165693 h 7034037"/>
              <a:gd name="connsiteX0" fmla="*/ 2047375 w 5244740"/>
              <a:gd name="connsiteY0" fmla="*/ 6 h 6868350"/>
              <a:gd name="connsiteX1" fmla="*/ 5244740 w 5244740"/>
              <a:gd name="connsiteY1" fmla="*/ 10350 h 6868350"/>
              <a:gd name="connsiteX2" fmla="*/ 5244740 w 5244740"/>
              <a:gd name="connsiteY2" fmla="*/ 10350 h 6868350"/>
              <a:gd name="connsiteX3" fmla="*/ 5244740 w 5244740"/>
              <a:gd name="connsiteY3" fmla="*/ 6868350 h 6868350"/>
              <a:gd name="connsiteX4" fmla="*/ 5244740 w 5244740"/>
              <a:gd name="connsiteY4" fmla="*/ 6868350 h 6868350"/>
              <a:gd name="connsiteX5" fmla="*/ 959612 w 5244740"/>
              <a:gd name="connsiteY5" fmla="*/ 6868350 h 6868350"/>
              <a:gd name="connsiteX6" fmla="*/ 12938 w 5244740"/>
              <a:gd name="connsiteY6" fmla="*/ 2272766 h 6868350"/>
              <a:gd name="connsiteX7" fmla="*/ 2047375 w 5244740"/>
              <a:gd name="connsiteY7" fmla="*/ 6 h 6868350"/>
              <a:gd name="connsiteX0" fmla="*/ 2034611 w 5231976"/>
              <a:gd name="connsiteY0" fmla="*/ 6 h 6868350"/>
              <a:gd name="connsiteX1" fmla="*/ 5231976 w 5231976"/>
              <a:gd name="connsiteY1" fmla="*/ 10350 h 6868350"/>
              <a:gd name="connsiteX2" fmla="*/ 5231976 w 5231976"/>
              <a:gd name="connsiteY2" fmla="*/ 10350 h 6868350"/>
              <a:gd name="connsiteX3" fmla="*/ 5231976 w 5231976"/>
              <a:gd name="connsiteY3" fmla="*/ 6868350 h 6868350"/>
              <a:gd name="connsiteX4" fmla="*/ 5231976 w 5231976"/>
              <a:gd name="connsiteY4" fmla="*/ 6868350 h 6868350"/>
              <a:gd name="connsiteX5" fmla="*/ 946848 w 5231976"/>
              <a:gd name="connsiteY5" fmla="*/ 6868350 h 6868350"/>
              <a:gd name="connsiteX6" fmla="*/ 174 w 5231976"/>
              <a:gd name="connsiteY6" fmla="*/ 2272766 h 6868350"/>
              <a:gd name="connsiteX7" fmla="*/ 2034611 w 5231976"/>
              <a:gd name="connsiteY7" fmla="*/ 6 h 6868350"/>
              <a:gd name="connsiteX0" fmla="*/ 2034612 w 5231977"/>
              <a:gd name="connsiteY0" fmla="*/ 6 h 6868350"/>
              <a:gd name="connsiteX1" fmla="*/ 5231977 w 5231977"/>
              <a:gd name="connsiteY1" fmla="*/ 10350 h 6868350"/>
              <a:gd name="connsiteX2" fmla="*/ 5231977 w 5231977"/>
              <a:gd name="connsiteY2" fmla="*/ 10350 h 6868350"/>
              <a:gd name="connsiteX3" fmla="*/ 5231977 w 5231977"/>
              <a:gd name="connsiteY3" fmla="*/ 6868350 h 6868350"/>
              <a:gd name="connsiteX4" fmla="*/ 5231977 w 5231977"/>
              <a:gd name="connsiteY4" fmla="*/ 6868350 h 6868350"/>
              <a:gd name="connsiteX5" fmla="*/ 946849 w 5231977"/>
              <a:gd name="connsiteY5" fmla="*/ 6868350 h 6868350"/>
              <a:gd name="connsiteX6" fmla="*/ 175 w 5231977"/>
              <a:gd name="connsiteY6" fmla="*/ 2272766 h 6868350"/>
              <a:gd name="connsiteX7" fmla="*/ 2034612 w 5231977"/>
              <a:gd name="connsiteY7" fmla="*/ 6 h 6868350"/>
              <a:gd name="connsiteX0" fmla="*/ 2041645 w 5239010"/>
              <a:gd name="connsiteY0" fmla="*/ 181322 h 7049666"/>
              <a:gd name="connsiteX1" fmla="*/ 5239010 w 5239010"/>
              <a:gd name="connsiteY1" fmla="*/ 191666 h 7049666"/>
              <a:gd name="connsiteX2" fmla="*/ 5239010 w 5239010"/>
              <a:gd name="connsiteY2" fmla="*/ 191666 h 7049666"/>
              <a:gd name="connsiteX3" fmla="*/ 5239010 w 5239010"/>
              <a:gd name="connsiteY3" fmla="*/ 7049666 h 7049666"/>
              <a:gd name="connsiteX4" fmla="*/ 5239010 w 5239010"/>
              <a:gd name="connsiteY4" fmla="*/ 7049666 h 7049666"/>
              <a:gd name="connsiteX5" fmla="*/ 953882 w 5239010"/>
              <a:gd name="connsiteY5" fmla="*/ 7049666 h 7049666"/>
              <a:gd name="connsiteX6" fmla="*/ 175 w 5239010"/>
              <a:gd name="connsiteY6" fmla="*/ 2665097 h 7049666"/>
              <a:gd name="connsiteX7" fmla="*/ 2041645 w 5239010"/>
              <a:gd name="connsiteY7" fmla="*/ 181322 h 7049666"/>
              <a:gd name="connsiteX0" fmla="*/ 2041645 w 5239010"/>
              <a:gd name="connsiteY0" fmla="*/ 0 h 6868344"/>
              <a:gd name="connsiteX1" fmla="*/ 5239010 w 5239010"/>
              <a:gd name="connsiteY1" fmla="*/ 10344 h 6868344"/>
              <a:gd name="connsiteX2" fmla="*/ 5239010 w 5239010"/>
              <a:gd name="connsiteY2" fmla="*/ 10344 h 6868344"/>
              <a:gd name="connsiteX3" fmla="*/ 5239010 w 5239010"/>
              <a:gd name="connsiteY3" fmla="*/ 6868344 h 6868344"/>
              <a:gd name="connsiteX4" fmla="*/ 5239010 w 5239010"/>
              <a:gd name="connsiteY4" fmla="*/ 6868344 h 6868344"/>
              <a:gd name="connsiteX5" fmla="*/ 953882 w 5239010"/>
              <a:gd name="connsiteY5" fmla="*/ 6868344 h 6868344"/>
              <a:gd name="connsiteX6" fmla="*/ 175 w 5239010"/>
              <a:gd name="connsiteY6" fmla="*/ 2483775 h 6868344"/>
              <a:gd name="connsiteX7" fmla="*/ 2041645 w 5239010"/>
              <a:gd name="connsiteY7" fmla="*/ 0 h 6868344"/>
              <a:gd name="connsiteX0" fmla="*/ 2041645 w 5239010"/>
              <a:gd name="connsiteY0" fmla="*/ 9656 h 6878000"/>
              <a:gd name="connsiteX1" fmla="*/ 5239010 w 5239010"/>
              <a:gd name="connsiteY1" fmla="*/ 20000 h 6878000"/>
              <a:gd name="connsiteX2" fmla="*/ 5239010 w 5239010"/>
              <a:gd name="connsiteY2" fmla="*/ 20000 h 6878000"/>
              <a:gd name="connsiteX3" fmla="*/ 5239010 w 5239010"/>
              <a:gd name="connsiteY3" fmla="*/ 6878000 h 6878000"/>
              <a:gd name="connsiteX4" fmla="*/ 5239010 w 5239010"/>
              <a:gd name="connsiteY4" fmla="*/ 6878000 h 6878000"/>
              <a:gd name="connsiteX5" fmla="*/ 953882 w 5239010"/>
              <a:gd name="connsiteY5" fmla="*/ 6878000 h 6878000"/>
              <a:gd name="connsiteX6" fmla="*/ 175 w 5239010"/>
              <a:gd name="connsiteY6" fmla="*/ 2493431 h 6878000"/>
              <a:gd name="connsiteX7" fmla="*/ 2041645 w 5239010"/>
              <a:gd name="connsiteY7" fmla="*/ 9656 h 6878000"/>
              <a:gd name="connsiteX0" fmla="*/ 2048678 w 5246043"/>
              <a:gd name="connsiteY0" fmla="*/ 169861 h 7038205"/>
              <a:gd name="connsiteX1" fmla="*/ 5246043 w 5246043"/>
              <a:gd name="connsiteY1" fmla="*/ 180205 h 7038205"/>
              <a:gd name="connsiteX2" fmla="*/ 5246043 w 5246043"/>
              <a:gd name="connsiteY2" fmla="*/ 180205 h 7038205"/>
              <a:gd name="connsiteX3" fmla="*/ 5246043 w 5246043"/>
              <a:gd name="connsiteY3" fmla="*/ 7038205 h 7038205"/>
              <a:gd name="connsiteX4" fmla="*/ 5246043 w 5246043"/>
              <a:gd name="connsiteY4" fmla="*/ 7038205 h 7038205"/>
              <a:gd name="connsiteX5" fmla="*/ 960915 w 5246043"/>
              <a:gd name="connsiteY5" fmla="*/ 7038205 h 7038205"/>
              <a:gd name="connsiteX6" fmla="*/ 174 w 5246043"/>
              <a:gd name="connsiteY6" fmla="*/ 2498892 h 7038205"/>
              <a:gd name="connsiteX7" fmla="*/ 2048678 w 5246043"/>
              <a:gd name="connsiteY7" fmla="*/ 169861 h 7038205"/>
              <a:gd name="connsiteX0" fmla="*/ 2048678 w 5246043"/>
              <a:gd name="connsiteY0" fmla="*/ 37 h 6868381"/>
              <a:gd name="connsiteX1" fmla="*/ 5246043 w 5246043"/>
              <a:gd name="connsiteY1" fmla="*/ 10381 h 6868381"/>
              <a:gd name="connsiteX2" fmla="*/ 5246043 w 5246043"/>
              <a:gd name="connsiteY2" fmla="*/ 10381 h 6868381"/>
              <a:gd name="connsiteX3" fmla="*/ 5246043 w 5246043"/>
              <a:gd name="connsiteY3" fmla="*/ 6868381 h 6868381"/>
              <a:gd name="connsiteX4" fmla="*/ 5246043 w 5246043"/>
              <a:gd name="connsiteY4" fmla="*/ 6868381 h 6868381"/>
              <a:gd name="connsiteX5" fmla="*/ 960915 w 5246043"/>
              <a:gd name="connsiteY5" fmla="*/ 6868381 h 6868381"/>
              <a:gd name="connsiteX6" fmla="*/ 174 w 5246043"/>
              <a:gd name="connsiteY6" fmla="*/ 2329068 h 6868381"/>
              <a:gd name="connsiteX7" fmla="*/ 2048678 w 5246043"/>
              <a:gd name="connsiteY7" fmla="*/ 37 h 6868381"/>
              <a:gd name="connsiteX0" fmla="*/ 2048678 w 5246043"/>
              <a:gd name="connsiteY0" fmla="*/ 0 h 6868344"/>
              <a:gd name="connsiteX1" fmla="*/ 5246043 w 5246043"/>
              <a:gd name="connsiteY1" fmla="*/ 10344 h 6868344"/>
              <a:gd name="connsiteX2" fmla="*/ 5246043 w 5246043"/>
              <a:gd name="connsiteY2" fmla="*/ 10344 h 6868344"/>
              <a:gd name="connsiteX3" fmla="*/ 5246043 w 5246043"/>
              <a:gd name="connsiteY3" fmla="*/ 6868344 h 6868344"/>
              <a:gd name="connsiteX4" fmla="*/ 5246043 w 5246043"/>
              <a:gd name="connsiteY4" fmla="*/ 6868344 h 6868344"/>
              <a:gd name="connsiteX5" fmla="*/ 960915 w 5246043"/>
              <a:gd name="connsiteY5" fmla="*/ 6868344 h 6868344"/>
              <a:gd name="connsiteX6" fmla="*/ 174 w 5246043"/>
              <a:gd name="connsiteY6" fmla="*/ 2329031 h 6868344"/>
              <a:gd name="connsiteX7" fmla="*/ 2048678 w 5246043"/>
              <a:gd name="connsiteY7" fmla="*/ 0 h 6868344"/>
              <a:gd name="connsiteX0" fmla="*/ 2048678 w 5246043"/>
              <a:gd name="connsiteY0" fmla="*/ 0 h 6868344"/>
              <a:gd name="connsiteX1" fmla="*/ 5246043 w 5246043"/>
              <a:gd name="connsiteY1" fmla="*/ 10344 h 6868344"/>
              <a:gd name="connsiteX2" fmla="*/ 5246043 w 5246043"/>
              <a:gd name="connsiteY2" fmla="*/ 10344 h 6868344"/>
              <a:gd name="connsiteX3" fmla="*/ 5246043 w 5246043"/>
              <a:gd name="connsiteY3" fmla="*/ 6868344 h 6868344"/>
              <a:gd name="connsiteX4" fmla="*/ 5246043 w 5246043"/>
              <a:gd name="connsiteY4" fmla="*/ 6868344 h 6868344"/>
              <a:gd name="connsiteX5" fmla="*/ 960915 w 5246043"/>
              <a:gd name="connsiteY5" fmla="*/ 6868344 h 6868344"/>
              <a:gd name="connsiteX6" fmla="*/ 174 w 5246043"/>
              <a:gd name="connsiteY6" fmla="*/ 2329031 h 6868344"/>
              <a:gd name="connsiteX7" fmla="*/ 2048678 w 5246043"/>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55583 w 5252948"/>
              <a:gd name="connsiteY0" fmla="*/ 176113 h 7044457"/>
              <a:gd name="connsiteX1" fmla="*/ 5252948 w 5252948"/>
              <a:gd name="connsiteY1" fmla="*/ 186457 h 7044457"/>
              <a:gd name="connsiteX2" fmla="*/ 5252948 w 5252948"/>
              <a:gd name="connsiteY2" fmla="*/ 186457 h 7044457"/>
              <a:gd name="connsiteX3" fmla="*/ 5252948 w 5252948"/>
              <a:gd name="connsiteY3" fmla="*/ 7044457 h 7044457"/>
              <a:gd name="connsiteX4" fmla="*/ 5252948 w 5252948"/>
              <a:gd name="connsiteY4" fmla="*/ 7044457 h 7044457"/>
              <a:gd name="connsiteX5" fmla="*/ 967820 w 5252948"/>
              <a:gd name="connsiteY5" fmla="*/ 7044457 h 7044457"/>
              <a:gd name="connsiteX6" fmla="*/ 46 w 5252948"/>
              <a:gd name="connsiteY6" fmla="*/ 2589550 h 7044457"/>
              <a:gd name="connsiteX7" fmla="*/ 2055583 w 5252948"/>
              <a:gd name="connsiteY7" fmla="*/ 176113 h 7044457"/>
              <a:gd name="connsiteX0" fmla="*/ 2055589 w 5252954"/>
              <a:gd name="connsiteY0" fmla="*/ 1 h 6868345"/>
              <a:gd name="connsiteX1" fmla="*/ 5252954 w 5252954"/>
              <a:gd name="connsiteY1" fmla="*/ 10345 h 6868345"/>
              <a:gd name="connsiteX2" fmla="*/ 5252954 w 5252954"/>
              <a:gd name="connsiteY2" fmla="*/ 10345 h 6868345"/>
              <a:gd name="connsiteX3" fmla="*/ 5252954 w 5252954"/>
              <a:gd name="connsiteY3" fmla="*/ 6868345 h 6868345"/>
              <a:gd name="connsiteX4" fmla="*/ 5252954 w 5252954"/>
              <a:gd name="connsiteY4" fmla="*/ 6868345 h 6868345"/>
              <a:gd name="connsiteX5" fmla="*/ 967826 w 5252954"/>
              <a:gd name="connsiteY5" fmla="*/ 6868345 h 6868345"/>
              <a:gd name="connsiteX6" fmla="*/ 52 w 5252954"/>
              <a:gd name="connsiteY6" fmla="*/ 2413438 h 6868345"/>
              <a:gd name="connsiteX7" fmla="*/ 2055589 w 5252954"/>
              <a:gd name="connsiteY7" fmla="*/ 1 h 6868345"/>
              <a:gd name="connsiteX0" fmla="*/ 2119337 w 5267465"/>
              <a:gd name="connsiteY0" fmla="*/ 1 h 6868345"/>
              <a:gd name="connsiteX1" fmla="*/ 5267465 w 5267465"/>
              <a:gd name="connsiteY1" fmla="*/ 10345 h 6868345"/>
              <a:gd name="connsiteX2" fmla="*/ 5267465 w 5267465"/>
              <a:gd name="connsiteY2" fmla="*/ 10345 h 6868345"/>
              <a:gd name="connsiteX3" fmla="*/ 5267465 w 5267465"/>
              <a:gd name="connsiteY3" fmla="*/ 6868345 h 6868345"/>
              <a:gd name="connsiteX4" fmla="*/ 5267465 w 5267465"/>
              <a:gd name="connsiteY4" fmla="*/ 6868345 h 6868345"/>
              <a:gd name="connsiteX5" fmla="*/ 982337 w 5267465"/>
              <a:gd name="connsiteY5" fmla="*/ 6868345 h 6868345"/>
              <a:gd name="connsiteX6" fmla="*/ 14563 w 5267465"/>
              <a:gd name="connsiteY6" fmla="*/ 2413438 h 6868345"/>
              <a:gd name="connsiteX7" fmla="*/ 2119337 w 5267465"/>
              <a:gd name="connsiteY7" fmla="*/ 1 h 6868345"/>
              <a:gd name="connsiteX0" fmla="*/ 2119337 w 5267465"/>
              <a:gd name="connsiteY0" fmla="*/ 19948 h 6888292"/>
              <a:gd name="connsiteX1" fmla="*/ 5267465 w 5267465"/>
              <a:gd name="connsiteY1" fmla="*/ 30292 h 6888292"/>
              <a:gd name="connsiteX2" fmla="*/ 5267465 w 5267465"/>
              <a:gd name="connsiteY2" fmla="*/ 30292 h 6888292"/>
              <a:gd name="connsiteX3" fmla="*/ 5267465 w 5267465"/>
              <a:gd name="connsiteY3" fmla="*/ 6888292 h 6888292"/>
              <a:gd name="connsiteX4" fmla="*/ 5267465 w 5267465"/>
              <a:gd name="connsiteY4" fmla="*/ 6888292 h 6888292"/>
              <a:gd name="connsiteX5" fmla="*/ 982337 w 5267465"/>
              <a:gd name="connsiteY5" fmla="*/ 6888292 h 6888292"/>
              <a:gd name="connsiteX6" fmla="*/ 14563 w 5267465"/>
              <a:gd name="connsiteY6" fmla="*/ 2433385 h 6888292"/>
              <a:gd name="connsiteX7" fmla="*/ 2119337 w 5267465"/>
              <a:gd name="connsiteY7" fmla="*/ 19948 h 6888292"/>
              <a:gd name="connsiteX0" fmla="*/ 2011440 w 5265076"/>
              <a:gd name="connsiteY0" fmla="*/ 19948 h 6888292"/>
              <a:gd name="connsiteX1" fmla="*/ 5265076 w 5265076"/>
              <a:gd name="connsiteY1" fmla="*/ 30292 h 6888292"/>
              <a:gd name="connsiteX2" fmla="*/ 5265076 w 5265076"/>
              <a:gd name="connsiteY2" fmla="*/ 30292 h 6888292"/>
              <a:gd name="connsiteX3" fmla="*/ 5265076 w 5265076"/>
              <a:gd name="connsiteY3" fmla="*/ 6888292 h 6888292"/>
              <a:gd name="connsiteX4" fmla="*/ 5265076 w 5265076"/>
              <a:gd name="connsiteY4" fmla="*/ 6888292 h 6888292"/>
              <a:gd name="connsiteX5" fmla="*/ 979948 w 5265076"/>
              <a:gd name="connsiteY5" fmla="*/ 6888292 h 6888292"/>
              <a:gd name="connsiteX6" fmla="*/ 12174 w 5265076"/>
              <a:gd name="connsiteY6" fmla="*/ 2433385 h 6888292"/>
              <a:gd name="connsiteX7" fmla="*/ 2011440 w 5265076"/>
              <a:gd name="connsiteY7" fmla="*/ 19948 h 6888292"/>
              <a:gd name="connsiteX0" fmla="*/ 2011440 w 5265076"/>
              <a:gd name="connsiteY0" fmla="*/ 0 h 6868344"/>
              <a:gd name="connsiteX1" fmla="*/ 5265076 w 5265076"/>
              <a:gd name="connsiteY1" fmla="*/ 10344 h 6868344"/>
              <a:gd name="connsiteX2" fmla="*/ 5265076 w 5265076"/>
              <a:gd name="connsiteY2" fmla="*/ 10344 h 6868344"/>
              <a:gd name="connsiteX3" fmla="*/ 5265076 w 5265076"/>
              <a:gd name="connsiteY3" fmla="*/ 6868344 h 6868344"/>
              <a:gd name="connsiteX4" fmla="*/ 5265076 w 5265076"/>
              <a:gd name="connsiteY4" fmla="*/ 6868344 h 6868344"/>
              <a:gd name="connsiteX5" fmla="*/ 979948 w 5265076"/>
              <a:gd name="connsiteY5" fmla="*/ 6868344 h 6868344"/>
              <a:gd name="connsiteX6" fmla="*/ 12174 w 5265076"/>
              <a:gd name="connsiteY6" fmla="*/ 2413437 h 6868344"/>
              <a:gd name="connsiteX7" fmla="*/ 2011440 w 5265076"/>
              <a:gd name="connsiteY7" fmla="*/ 0 h 6868344"/>
              <a:gd name="connsiteX0" fmla="*/ 2097744 w 5266973"/>
              <a:gd name="connsiteY0" fmla="*/ 0 h 6861310"/>
              <a:gd name="connsiteX1" fmla="*/ 5266973 w 5266973"/>
              <a:gd name="connsiteY1" fmla="*/ 3310 h 6861310"/>
              <a:gd name="connsiteX2" fmla="*/ 5266973 w 5266973"/>
              <a:gd name="connsiteY2" fmla="*/ 3310 h 6861310"/>
              <a:gd name="connsiteX3" fmla="*/ 5266973 w 5266973"/>
              <a:gd name="connsiteY3" fmla="*/ 6861310 h 6861310"/>
              <a:gd name="connsiteX4" fmla="*/ 5266973 w 5266973"/>
              <a:gd name="connsiteY4" fmla="*/ 6861310 h 6861310"/>
              <a:gd name="connsiteX5" fmla="*/ 981845 w 5266973"/>
              <a:gd name="connsiteY5" fmla="*/ 6861310 h 6861310"/>
              <a:gd name="connsiteX6" fmla="*/ 14071 w 5266973"/>
              <a:gd name="connsiteY6" fmla="*/ 2406403 h 6861310"/>
              <a:gd name="connsiteX7" fmla="*/ 2097744 w 5266973"/>
              <a:gd name="connsiteY7" fmla="*/ 0 h 6861310"/>
              <a:gd name="connsiteX0" fmla="*/ 2083752 w 5252981"/>
              <a:gd name="connsiteY0" fmla="*/ 0 h 6861310"/>
              <a:gd name="connsiteX1" fmla="*/ 5252981 w 5252981"/>
              <a:gd name="connsiteY1" fmla="*/ 3310 h 6861310"/>
              <a:gd name="connsiteX2" fmla="*/ 5252981 w 5252981"/>
              <a:gd name="connsiteY2" fmla="*/ 3310 h 6861310"/>
              <a:gd name="connsiteX3" fmla="*/ 5252981 w 5252981"/>
              <a:gd name="connsiteY3" fmla="*/ 6861310 h 6861310"/>
              <a:gd name="connsiteX4" fmla="*/ 5252981 w 5252981"/>
              <a:gd name="connsiteY4" fmla="*/ 6861310 h 6861310"/>
              <a:gd name="connsiteX5" fmla="*/ 967853 w 5252981"/>
              <a:gd name="connsiteY5" fmla="*/ 6861310 h 6861310"/>
              <a:gd name="connsiteX6" fmla="*/ 79 w 5252981"/>
              <a:gd name="connsiteY6" fmla="*/ 2406403 h 6861310"/>
              <a:gd name="connsiteX7" fmla="*/ 2083752 w 5252981"/>
              <a:gd name="connsiteY7" fmla="*/ 0 h 6861310"/>
              <a:gd name="connsiteX0" fmla="*/ 2083752 w 5252981"/>
              <a:gd name="connsiteY0" fmla="*/ 0 h 6861310"/>
              <a:gd name="connsiteX1" fmla="*/ 5252981 w 5252981"/>
              <a:gd name="connsiteY1" fmla="*/ 3310 h 6861310"/>
              <a:gd name="connsiteX2" fmla="*/ 5252981 w 5252981"/>
              <a:gd name="connsiteY2" fmla="*/ 3310 h 6861310"/>
              <a:gd name="connsiteX3" fmla="*/ 5252981 w 5252981"/>
              <a:gd name="connsiteY3" fmla="*/ 6861310 h 6861310"/>
              <a:gd name="connsiteX4" fmla="*/ 5252981 w 5252981"/>
              <a:gd name="connsiteY4" fmla="*/ 6861310 h 6861310"/>
              <a:gd name="connsiteX5" fmla="*/ 967853 w 5252981"/>
              <a:gd name="connsiteY5" fmla="*/ 6861310 h 6861310"/>
              <a:gd name="connsiteX6" fmla="*/ 79 w 5252981"/>
              <a:gd name="connsiteY6" fmla="*/ 2406403 h 6861310"/>
              <a:gd name="connsiteX7" fmla="*/ 2083752 w 5252981"/>
              <a:gd name="connsiteY7" fmla="*/ 0 h 6861310"/>
              <a:gd name="connsiteX0" fmla="*/ 2083881 w 5253110"/>
              <a:gd name="connsiteY0" fmla="*/ 0 h 6861310"/>
              <a:gd name="connsiteX1" fmla="*/ 5253110 w 5253110"/>
              <a:gd name="connsiteY1" fmla="*/ 3310 h 6861310"/>
              <a:gd name="connsiteX2" fmla="*/ 5253110 w 5253110"/>
              <a:gd name="connsiteY2" fmla="*/ 3310 h 6861310"/>
              <a:gd name="connsiteX3" fmla="*/ 5253110 w 5253110"/>
              <a:gd name="connsiteY3" fmla="*/ 6861310 h 6861310"/>
              <a:gd name="connsiteX4" fmla="*/ 5253110 w 5253110"/>
              <a:gd name="connsiteY4" fmla="*/ 6861310 h 6861310"/>
              <a:gd name="connsiteX5" fmla="*/ 967982 w 5253110"/>
              <a:gd name="connsiteY5" fmla="*/ 6861310 h 6861310"/>
              <a:gd name="connsiteX6" fmla="*/ 208 w 5253110"/>
              <a:gd name="connsiteY6" fmla="*/ 2406403 h 6861310"/>
              <a:gd name="connsiteX7" fmla="*/ 2083881 w 5253110"/>
              <a:gd name="connsiteY7" fmla="*/ 0 h 6861310"/>
              <a:gd name="connsiteX0" fmla="*/ 2083881 w 5253110"/>
              <a:gd name="connsiteY0" fmla="*/ 0 h 6861310"/>
              <a:gd name="connsiteX1" fmla="*/ 5253110 w 5253110"/>
              <a:gd name="connsiteY1" fmla="*/ 3310 h 6861310"/>
              <a:gd name="connsiteX2" fmla="*/ 5253110 w 5253110"/>
              <a:gd name="connsiteY2" fmla="*/ 3310 h 6861310"/>
              <a:gd name="connsiteX3" fmla="*/ 5253110 w 5253110"/>
              <a:gd name="connsiteY3" fmla="*/ 6861310 h 6861310"/>
              <a:gd name="connsiteX4" fmla="*/ 5253110 w 5253110"/>
              <a:gd name="connsiteY4" fmla="*/ 6861310 h 6861310"/>
              <a:gd name="connsiteX5" fmla="*/ 967982 w 5253110"/>
              <a:gd name="connsiteY5" fmla="*/ 6861310 h 6861310"/>
              <a:gd name="connsiteX6" fmla="*/ 208 w 5253110"/>
              <a:gd name="connsiteY6" fmla="*/ 2406403 h 6861310"/>
              <a:gd name="connsiteX7" fmla="*/ 2083881 w 5253110"/>
              <a:gd name="connsiteY7" fmla="*/ 0 h 686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110" h="6861310">
                <a:moveTo>
                  <a:pt x="2083881" y="0"/>
                </a:moveTo>
                <a:lnTo>
                  <a:pt x="5253110" y="3310"/>
                </a:lnTo>
                <a:lnTo>
                  <a:pt x="5253110" y="3310"/>
                </a:lnTo>
                <a:lnTo>
                  <a:pt x="5253110" y="6861310"/>
                </a:lnTo>
                <a:lnTo>
                  <a:pt x="5253110" y="6861310"/>
                </a:lnTo>
                <a:lnTo>
                  <a:pt x="967982" y="6861310"/>
                </a:lnTo>
                <a:cubicBezTo>
                  <a:pt x="1620888" y="5201735"/>
                  <a:pt x="18206" y="3768003"/>
                  <a:pt x="208" y="2406403"/>
                </a:cubicBezTo>
                <a:cubicBezTo>
                  <a:pt x="-17790" y="1044803"/>
                  <a:pt x="1131025" y="6620"/>
                  <a:pt x="2083881" y="0"/>
                </a:cubicBezTo>
                <a:close/>
              </a:path>
            </a:pathLst>
          </a:custGeom>
          <a:solidFill>
            <a:schemeClr val="bg2"/>
          </a:solidFill>
        </p:spPr>
        <p:txBody>
          <a:bodyPr tIns="2844000">
            <a:normAutofit/>
          </a:bodyPr>
          <a:lstStyle>
            <a:lvl1pPr marL="0" indent="0" algn="ctr">
              <a:buFont typeface="Arial" panose="020B0604020202020204" pitchFamily="34" charset="0"/>
              <a:buNone/>
              <a:defRPr sz="1100"/>
            </a:lvl1pPr>
          </a:lstStyle>
          <a:p>
            <a:r>
              <a:rPr lang="en-GB" err="1"/>
              <a:t>Indsæt</a:t>
            </a:r>
            <a:r>
              <a:rPr lang="en-GB"/>
              <a:t> </a:t>
            </a:r>
            <a:r>
              <a:rPr lang="en-GB" err="1"/>
              <a:t>billede</a:t>
            </a:r>
            <a:endParaRPr lang="en-GB"/>
          </a:p>
        </p:txBody>
      </p:sp>
      <p:sp>
        <p:nvSpPr>
          <p:cNvPr id="4" name="Slide Number Placeholder 5">
            <a:extLst>
              <a:ext uri="{FF2B5EF4-FFF2-40B4-BE49-F238E27FC236}">
                <a16:creationId xmlns:a16="http://schemas.microsoft.com/office/drawing/2014/main" id="{84A468D6-7ED5-4779-41A5-E33D23BCBC6F}"/>
              </a:ext>
            </a:extLst>
          </p:cNvPr>
          <p:cNvSpPr txBox="1">
            <a:spLocks/>
          </p:cNvSpPr>
          <p:nvPr/>
        </p:nvSpPr>
        <p:spPr>
          <a:xfrm>
            <a:off x="10815638" y="6064612"/>
            <a:ext cx="942976" cy="360000"/>
          </a:xfrm>
          <a:prstGeom prst="rect">
            <a:avLst/>
          </a:prstGeom>
        </p:spPr>
        <p:txBody>
          <a:bodyPr vert="horz" lIns="0" tIns="0" rIns="0" bIns="0" rtlCol="0" anchor="b" anchorCtr="0"/>
          <a:lstStyle>
            <a:defPPr>
              <a:defRPr lang="en-US"/>
            </a:defPPr>
            <a:lvl1pPr marL="0" algn="r" defTabSz="914400" rtl="0" eaLnBrk="1" latinLnBrk="0" hangingPunct="1">
              <a:defRPr sz="800" b="0" i="0" kern="1200">
                <a:solidFill>
                  <a:schemeClr val="tx1"/>
                </a:solidFill>
                <a:latin typeface="Eifon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S. </a:t>
            </a:r>
            <a:fld id="{E68BB47B-6AA6-7343-BE79-ECEFD83B2C88}" type="slidenum">
              <a:rPr lang="en-GB" smtClean="0"/>
              <a:pPr/>
              <a:t>‹#›</a:t>
            </a:fld>
            <a:endParaRPr lang="en-GB"/>
          </a:p>
        </p:txBody>
      </p:sp>
      <p:pic>
        <p:nvPicPr>
          <p:cNvPr id="5" name="Graphic 5">
            <a:extLst>
              <a:ext uri="{FF2B5EF4-FFF2-40B4-BE49-F238E27FC236}">
                <a16:creationId xmlns:a16="http://schemas.microsoft.com/office/drawing/2014/main" id="{1D6CC453-A4C8-72C5-FC42-DCDF41162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3" name="Pladsholder til tekst 5">
            <a:extLst>
              <a:ext uri="{FF2B5EF4-FFF2-40B4-BE49-F238E27FC236}">
                <a16:creationId xmlns:a16="http://schemas.microsoft.com/office/drawing/2014/main" id="{66E6F8D4-A5F0-AC87-26EF-4C7BE2B59F1E}"/>
              </a:ext>
            </a:extLst>
          </p:cNvPr>
          <p:cNvSpPr>
            <a:spLocks noGrp="1"/>
          </p:cNvSpPr>
          <p:nvPr>
            <p:ph type="body" sz="quarter" idx="10" hasCustomPrompt="1"/>
          </p:nvPr>
        </p:nvSpPr>
        <p:spPr>
          <a:xfrm>
            <a:off x="431800" y="2162175"/>
            <a:ext cx="6607175" cy="3614738"/>
          </a:xfrm>
        </p:spPr>
        <p:txBody>
          <a:bodyPr/>
          <a:lstStyle>
            <a:lvl1pPr>
              <a:lnSpc>
                <a:spcPct val="120000"/>
              </a:lnSpc>
              <a:buClr>
                <a:schemeClr val="tx1"/>
              </a:buClr>
              <a:defRPr sz="2400"/>
            </a:lvl1pPr>
            <a:lvl2pPr>
              <a:lnSpc>
                <a:spcPct val="120000"/>
              </a:lnSpc>
              <a:buClr>
                <a:schemeClr val="tx1"/>
              </a:buClr>
              <a:defRPr sz="2400"/>
            </a:lvl2pPr>
            <a:lvl3pPr>
              <a:lnSpc>
                <a:spcPct val="120000"/>
              </a:lnSpc>
              <a:buClr>
                <a:schemeClr val="tx1"/>
              </a:buClr>
              <a:defRPr sz="2400"/>
            </a:lvl3pPr>
            <a:lvl4pPr>
              <a:lnSpc>
                <a:spcPct val="120000"/>
              </a:lnSpc>
              <a:buClr>
                <a:schemeClr val="tx1"/>
              </a:buClr>
              <a:defRPr sz="2400"/>
            </a:lvl4pPr>
            <a:lvl5pPr>
              <a:lnSpc>
                <a:spcPct val="120000"/>
              </a:lnSpc>
              <a:buClr>
                <a:schemeClr val="tx1"/>
              </a:buClr>
              <a:defRPr sz="2400"/>
            </a:lvl5pPr>
          </a:lstStyle>
          <a:p>
            <a:pPr lvl="0"/>
            <a:r>
              <a:rPr lang="en-GB" err="1"/>
              <a:t>Første</a:t>
            </a:r>
            <a:r>
              <a:rPr lang="en-GB"/>
              <a:t> </a:t>
            </a:r>
            <a:r>
              <a:rPr lang="en-GB" err="1"/>
              <a:t>niveau</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Tree>
    <p:extLst>
      <p:ext uri="{BB962C8B-B14F-4D97-AF65-F5344CB8AC3E}">
        <p14:creationId xmlns:p14="http://schemas.microsoft.com/office/powerpoint/2010/main" val="987934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reaker 1">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F1A1C0-88A3-BC77-F64E-FED07CD47BDE}"/>
              </a:ext>
            </a:extLst>
          </p:cNvPr>
          <p:cNvGraphicFramePr>
            <a:graphicFrameLocks noChangeAspect="1"/>
          </p:cNvGraphicFramePr>
          <p:nvPr userDrawn="1">
            <p:custDataLst>
              <p:tags r:id="rId1"/>
            </p:custDataLst>
            <p:extLst>
              <p:ext uri="{D42A27DB-BD31-4B8C-83A1-F6EECF244321}">
                <p14:modId xmlns:p14="http://schemas.microsoft.com/office/powerpoint/2010/main" val="266658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FF1A1C0-88A3-BC77-F64E-FED07CD47B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5">
            <a:extLst>
              <a:ext uri="{FF2B5EF4-FFF2-40B4-BE49-F238E27FC236}">
                <a16:creationId xmlns:a16="http://schemas.microsoft.com/office/drawing/2014/main" id="{3C180AED-923D-4A4A-ECD0-8A858BC6B6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62" name="Title 1">
            <a:extLst>
              <a:ext uri="{FF2B5EF4-FFF2-40B4-BE49-F238E27FC236}">
                <a16:creationId xmlns:a16="http://schemas.microsoft.com/office/drawing/2014/main" id="{F6D8ADD0-4078-8E0F-B78D-0D74EC60B470}"/>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tx1"/>
                </a:solidFill>
              </a:defRPr>
            </a:lvl1pPr>
          </a:lstStyle>
          <a:p>
            <a:r>
              <a:rPr lang="en-GB" err="1"/>
              <a:t>Overskrift</a:t>
            </a:r>
            <a:br>
              <a:rPr lang="en-GB"/>
            </a:br>
            <a:r>
              <a:rPr lang="en-GB"/>
              <a:t>max 2 </a:t>
            </a:r>
            <a:r>
              <a:rPr lang="en-GB" err="1"/>
              <a:t>linjer</a:t>
            </a:r>
            <a:endParaRPr lang="en-GB"/>
          </a:p>
        </p:txBody>
      </p:sp>
      <p:sp>
        <p:nvSpPr>
          <p:cNvPr id="63" name="Subtitle 2">
            <a:extLst>
              <a:ext uri="{FF2B5EF4-FFF2-40B4-BE49-F238E27FC236}">
                <a16:creationId xmlns:a16="http://schemas.microsoft.com/office/drawing/2014/main" id="{0B2CBE13-B52B-89FB-2119-5CBA73A400CE}"/>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
        <p:nvSpPr>
          <p:cNvPr id="2" name="Slide Number Placeholder 5">
            <a:extLst>
              <a:ext uri="{FF2B5EF4-FFF2-40B4-BE49-F238E27FC236}">
                <a16:creationId xmlns:a16="http://schemas.microsoft.com/office/drawing/2014/main" id="{8DD50126-6C91-ECB7-2BA9-AAAF2578BFF4}"/>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6673771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reaker 2 m. 5. element">
    <p:bg>
      <p:bgPr>
        <a:solidFill>
          <a:schemeClr val="accent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FF3E52-6368-6851-28B6-49B6C97A8E32}"/>
              </a:ext>
            </a:extLst>
          </p:cNvPr>
          <p:cNvGraphicFramePr>
            <a:graphicFrameLocks noChangeAspect="1"/>
          </p:cNvGraphicFramePr>
          <p:nvPr userDrawn="1">
            <p:custDataLst>
              <p:tags r:id="rId1"/>
            </p:custDataLst>
            <p:extLst>
              <p:ext uri="{D42A27DB-BD31-4B8C-83A1-F6EECF244321}">
                <p14:modId xmlns:p14="http://schemas.microsoft.com/office/powerpoint/2010/main" val="2830256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1FF3E52-6368-6851-28B6-49B6C97A8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B9A9C12D-08E5-B698-93A7-F9CDFB8F59FE}"/>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797" b="28108"/>
          <a:stretch/>
        </p:blipFill>
        <p:spPr>
          <a:xfrm>
            <a:off x="0" y="65315"/>
            <a:ext cx="12192000" cy="6858000"/>
          </a:xfrm>
          <a:prstGeom prst="rect">
            <a:avLst/>
          </a:prstGeom>
        </p:spPr>
      </p:pic>
      <p:pic>
        <p:nvPicPr>
          <p:cNvPr id="3" name="Graphic 5">
            <a:extLst>
              <a:ext uri="{FF2B5EF4-FFF2-40B4-BE49-F238E27FC236}">
                <a16:creationId xmlns:a16="http://schemas.microsoft.com/office/drawing/2014/main" id="{E972505D-4B2A-D803-3DE7-70964FFCFA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BD1F172A-A302-629C-BF04-8FCDFECA9734}"/>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tx1"/>
                </a:solidFill>
              </a:defRPr>
            </a:lvl1pPr>
          </a:lstStyle>
          <a:p>
            <a:r>
              <a:rPr lang="en-GB"/>
              <a:t>Breaker</a:t>
            </a:r>
          </a:p>
        </p:txBody>
      </p:sp>
      <p:sp>
        <p:nvSpPr>
          <p:cNvPr id="2" name="Slide Number Placeholder 5">
            <a:extLst>
              <a:ext uri="{FF2B5EF4-FFF2-40B4-BE49-F238E27FC236}">
                <a16:creationId xmlns:a16="http://schemas.microsoft.com/office/drawing/2014/main" id="{8D467CEA-90F9-F93B-435F-26851C75222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21799833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reaker 3 m. 5. element">
    <p:bg>
      <p:bgPr>
        <a:solidFill>
          <a:schemeClr val="accent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62A143-83AE-A25C-733D-83B7C306FC9C}"/>
              </a:ext>
            </a:extLst>
          </p:cNvPr>
          <p:cNvGraphicFramePr>
            <a:graphicFrameLocks noChangeAspect="1"/>
          </p:cNvGraphicFramePr>
          <p:nvPr userDrawn="1">
            <p:custDataLst>
              <p:tags r:id="rId1"/>
            </p:custDataLst>
            <p:extLst>
              <p:ext uri="{D42A27DB-BD31-4B8C-83A1-F6EECF244321}">
                <p14:modId xmlns:p14="http://schemas.microsoft.com/office/powerpoint/2010/main" val="3639834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362A143-83AE-A25C-733D-83B7C306F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Kombinationstegning: figur 9">
            <a:extLst>
              <a:ext uri="{FF2B5EF4-FFF2-40B4-BE49-F238E27FC236}">
                <a16:creationId xmlns:a16="http://schemas.microsoft.com/office/drawing/2014/main" id="{17A181FE-2F01-88FA-F08A-7668EFF27D3F}"/>
              </a:ext>
            </a:extLst>
          </p:cNvPr>
          <p:cNvSpPr/>
          <p:nvPr/>
        </p:nvSpPr>
        <p:spPr>
          <a:xfrm>
            <a:off x="-10667" y="0"/>
            <a:ext cx="3159569" cy="6871207"/>
          </a:xfrm>
          <a:custGeom>
            <a:avLst/>
            <a:gdLst>
              <a:gd name="connsiteX0" fmla="*/ 3159570 w 3159569"/>
              <a:gd name="connsiteY0" fmla="*/ 0 h 6871207"/>
              <a:gd name="connsiteX1" fmla="*/ 3159570 w 3159569"/>
              <a:gd name="connsiteY1" fmla="*/ 6871208 h 6871207"/>
              <a:gd name="connsiteX2" fmla="*/ 10668 w 3159569"/>
              <a:gd name="connsiteY2" fmla="*/ 6871208 h 6871207"/>
              <a:gd name="connsiteX3" fmla="*/ 10668 w 3159569"/>
              <a:gd name="connsiteY3" fmla="*/ 6863588 h 6871207"/>
              <a:gd name="connsiteX4" fmla="*/ 0 w 3159569"/>
              <a:gd name="connsiteY4" fmla="*/ 6863588 h 6871207"/>
              <a:gd name="connsiteX5" fmla="*/ 10668 w 3159569"/>
              <a:gd name="connsiteY5" fmla="*/ 6853301 h 6871207"/>
              <a:gd name="connsiteX6" fmla="*/ 10668 w 3159569"/>
              <a:gd name="connsiteY6" fmla="*/ 0 h 6871207"/>
              <a:gd name="connsiteX7" fmla="*/ 3159570 w 3159569"/>
              <a:gd name="connsiteY7" fmla="*/ 0 h 687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9569" h="6871207">
                <a:moveTo>
                  <a:pt x="3159570" y="0"/>
                </a:moveTo>
                <a:lnTo>
                  <a:pt x="3159570" y="6871208"/>
                </a:lnTo>
                <a:lnTo>
                  <a:pt x="10668" y="6871208"/>
                </a:lnTo>
                <a:lnTo>
                  <a:pt x="10668" y="6863588"/>
                </a:lnTo>
                <a:lnTo>
                  <a:pt x="0" y="6863588"/>
                </a:lnTo>
                <a:lnTo>
                  <a:pt x="10668" y="6853301"/>
                </a:lnTo>
                <a:lnTo>
                  <a:pt x="10668" y="0"/>
                </a:lnTo>
                <a:lnTo>
                  <a:pt x="3159570" y="0"/>
                </a:lnTo>
                <a:close/>
              </a:path>
            </a:pathLst>
          </a:custGeom>
          <a:solidFill>
            <a:srgbClr val="EBEBD7"/>
          </a:solidFill>
          <a:ln w="6350" cap="flat">
            <a:noFill/>
            <a:prstDash val="solid"/>
            <a:miter/>
          </a:ln>
        </p:spPr>
        <p:txBody>
          <a:bodyPr rtlCol="0" anchor="ctr"/>
          <a:lstStyle/>
          <a:p>
            <a:endParaRPr lang="en-GB"/>
          </a:p>
        </p:txBody>
      </p:sp>
      <p:sp>
        <p:nvSpPr>
          <p:cNvPr id="11" name="Kombinationstegning: figur 10">
            <a:extLst>
              <a:ext uri="{FF2B5EF4-FFF2-40B4-BE49-F238E27FC236}">
                <a16:creationId xmlns:a16="http://schemas.microsoft.com/office/drawing/2014/main" id="{6EC132B9-6F67-5593-3EFF-A4493AB62F5A}"/>
              </a:ext>
            </a:extLst>
          </p:cNvPr>
          <p:cNvSpPr/>
          <p:nvPr/>
        </p:nvSpPr>
        <p:spPr>
          <a:xfrm>
            <a:off x="3148901" y="0"/>
            <a:ext cx="9043098" cy="6871207"/>
          </a:xfrm>
          <a:custGeom>
            <a:avLst/>
            <a:gdLst>
              <a:gd name="connsiteX0" fmla="*/ 9043098 w 9043098"/>
              <a:gd name="connsiteY0" fmla="*/ 2797175 h 6871207"/>
              <a:gd name="connsiteX1" fmla="*/ 9043098 w 9043098"/>
              <a:gd name="connsiteY1" fmla="*/ 673037 h 6871207"/>
              <a:gd name="connsiteX2" fmla="*/ 9043098 w 9043098"/>
              <a:gd name="connsiteY2" fmla="*/ 0 h 6871207"/>
              <a:gd name="connsiteX3" fmla="*/ 0 w 9043098"/>
              <a:gd name="connsiteY3" fmla="*/ 0 h 6871207"/>
              <a:gd name="connsiteX4" fmla="*/ 0 w 9043098"/>
              <a:gd name="connsiteY4" fmla="*/ 419164 h 6871207"/>
              <a:gd name="connsiteX5" fmla="*/ 0 w 9043098"/>
              <a:gd name="connsiteY5" fmla="*/ 6229604 h 6871207"/>
              <a:gd name="connsiteX6" fmla="*/ 0 w 9043098"/>
              <a:gd name="connsiteY6" fmla="*/ 6863588 h 6871207"/>
              <a:gd name="connsiteX7" fmla="*/ 0 w 9043098"/>
              <a:gd name="connsiteY7" fmla="*/ 6871208 h 6871207"/>
              <a:gd name="connsiteX8" fmla="*/ 9043098 w 9043098"/>
              <a:gd name="connsiteY8" fmla="*/ 6871208 h 6871207"/>
              <a:gd name="connsiteX9" fmla="*/ 9043098 w 9043098"/>
              <a:gd name="connsiteY9" fmla="*/ 6863588 h 6871207"/>
              <a:gd name="connsiteX10" fmla="*/ 9043098 w 9043098"/>
              <a:gd name="connsiteY10" fmla="*/ 6852603 h 6871207"/>
              <a:gd name="connsiteX11" fmla="*/ 9043098 w 9043098"/>
              <a:gd name="connsiteY11" fmla="*/ 2797175 h 687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3098" h="6871207">
                <a:moveTo>
                  <a:pt x="9043098" y="2797175"/>
                </a:moveTo>
                <a:lnTo>
                  <a:pt x="9043098" y="673037"/>
                </a:lnTo>
                <a:lnTo>
                  <a:pt x="9043098" y="0"/>
                </a:lnTo>
                <a:lnTo>
                  <a:pt x="0" y="0"/>
                </a:lnTo>
                <a:lnTo>
                  <a:pt x="0" y="419164"/>
                </a:lnTo>
                <a:lnTo>
                  <a:pt x="0" y="6229604"/>
                </a:lnTo>
                <a:lnTo>
                  <a:pt x="0" y="6863588"/>
                </a:lnTo>
                <a:lnTo>
                  <a:pt x="0" y="6871208"/>
                </a:lnTo>
                <a:lnTo>
                  <a:pt x="9043098" y="6871208"/>
                </a:lnTo>
                <a:lnTo>
                  <a:pt x="9043098" y="6863588"/>
                </a:lnTo>
                <a:lnTo>
                  <a:pt x="9043098" y="6852603"/>
                </a:lnTo>
                <a:lnTo>
                  <a:pt x="9043098" y="2797175"/>
                </a:lnTo>
                <a:close/>
              </a:path>
            </a:pathLst>
          </a:custGeom>
          <a:solidFill>
            <a:srgbClr val="EBEBD7"/>
          </a:solidFill>
          <a:ln w="6350" cap="flat">
            <a:noFill/>
            <a:prstDash val="solid"/>
            <a:miter/>
          </a:ln>
        </p:spPr>
        <p:txBody>
          <a:bodyPr rtlCol="0" anchor="ctr"/>
          <a:lstStyle/>
          <a:p>
            <a:endParaRPr lang="en-GB"/>
          </a:p>
        </p:txBody>
      </p:sp>
      <p:sp>
        <p:nvSpPr>
          <p:cNvPr id="12" name="Kombinationstegning: figur 11">
            <a:extLst>
              <a:ext uri="{FF2B5EF4-FFF2-40B4-BE49-F238E27FC236}">
                <a16:creationId xmlns:a16="http://schemas.microsoft.com/office/drawing/2014/main" id="{E9EB24CA-7F96-0E80-ED6A-07354FC161A2}"/>
              </a:ext>
            </a:extLst>
          </p:cNvPr>
          <p:cNvSpPr/>
          <p:nvPr/>
        </p:nvSpPr>
        <p:spPr>
          <a:xfrm>
            <a:off x="3148901" y="419163"/>
            <a:ext cx="9043098" cy="6444424"/>
          </a:xfrm>
          <a:custGeom>
            <a:avLst/>
            <a:gdLst>
              <a:gd name="connsiteX0" fmla="*/ 9043098 w 9043098"/>
              <a:gd name="connsiteY0" fmla="*/ 2378012 h 6444424"/>
              <a:gd name="connsiteX1" fmla="*/ 8320088 w 9043098"/>
              <a:gd name="connsiteY1" fmla="*/ 989330 h 6444424"/>
              <a:gd name="connsiteX2" fmla="*/ 5932868 w 9043098"/>
              <a:gd name="connsiteY2" fmla="*/ 3365 h 6444424"/>
              <a:gd name="connsiteX3" fmla="*/ 4191254 w 9043098"/>
              <a:gd name="connsiteY3" fmla="*/ 659701 h 6444424"/>
              <a:gd name="connsiteX4" fmla="*/ 477329 w 9043098"/>
              <a:gd name="connsiteY4" fmla="*/ 477203 h 6444424"/>
              <a:gd name="connsiteX5" fmla="*/ 448437 w 9043098"/>
              <a:gd name="connsiteY5" fmla="*/ 448437 h 6444424"/>
              <a:gd name="connsiteX6" fmla="*/ 0 w 9043098"/>
              <a:gd name="connsiteY6" fmla="*/ 0 h 6444424"/>
              <a:gd name="connsiteX7" fmla="*/ 0 w 9043098"/>
              <a:gd name="connsiteY7" fmla="*/ 6444425 h 6444424"/>
              <a:gd name="connsiteX8" fmla="*/ 9043098 w 9043098"/>
              <a:gd name="connsiteY8" fmla="*/ 6433439 h 6444424"/>
              <a:gd name="connsiteX9" fmla="*/ 9043098 w 9043098"/>
              <a:gd name="connsiteY9" fmla="*/ 2378012 h 644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3098" h="6444424">
                <a:moveTo>
                  <a:pt x="9043098" y="2378012"/>
                </a:moveTo>
                <a:cubicBezTo>
                  <a:pt x="8926195" y="1850390"/>
                  <a:pt x="8672068" y="1374394"/>
                  <a:pt x="8320088" y="989330"/>
                </a:cubicBezTo>
                <a:cubicBezTo>
                  <a:pt x="7734681" y="348678"/>
                  <a:pt x="6878511" y="-40259"/>
                  <a:pt x="5932868" y="3365"/>
                </a:cubicBezTo>
                <a:cubicBezTo>
                  <a:pt x="5278120" y="33528"/>
                  <a:pt x="4697413" y="304165"/>
                  <a:pt x="4191254" y="659701"/>
                </a:cubicBezTo>
                <a:cubicBezTo>
                  <a:pt x="3031998" y="1473899"/>
                  <a:pt x="1485075" y="1479423"/>
                  <a:pt x="477329" y="477203"/>
                </a:cubicBezTo>
                <a:cubicBezTo>
                  <a:pt x="467677" y="467614"/>
                  <a:pt x="458026" y="458025"/>
                  <a:pt x="448437" y="448437"/>
                </a:cubicBezTo>
                <a:lnTo>
                  <a:pt x="0" y="0"/>
                </a:lnTo>
                <a:lnTo>
                  <a:pt x="0" y="6444425"/>
                </a:lnTo>
                <a:lnTo>
                  <a:pt x="9043098" y="6433439"/>
                </a:lnTo>
                <a:lnTo>
                  <a:pt x="9043098" y="2378012"/>
                </a:lnTo>
                <a:close/>
              </a:path>
            </a:pathLst>
          </a:custGeom>
          <a:solidFill>
            <a:srgbClr val="DCDEEE"/>
          </a:solidFill>
          <a:ln w="6350" cap="flat">
            <a:noFill/>
            <a:prstDash val="solid"/>
            <a:miter/>
          </a:ln>
        </p:spPr>
        <p:txBody>
          <a:bodyPr rtlCol="0" anchor="ctr"/>
          <a:lstStyle/>
          <a:p>
            <a:endParaRPr lang="en-GB"/>
          </a:p>
        </p:txBody>
      </p:sp>
      <p:sp>
        <p:nvSpPr>
          <p:cNvPr id="13" name="Kombinationstegning: figur 12">
            <a:extLst>
              <a:ext uri="{FF2B5EF4-FFF2-40B4-BE49-F238E27FC236}">
                <a16:creationId xmlns:a16="http://schemas.microsoft.com/office/drawing/2014/main" id="{6C696A15-8743-A9C6-CB60-BFEFC2D6C74B}"/>
              </a:ext>
            </a:extLst>
          </p:cNvPr>
          <p:cNvSpPr/>
          <p:nvPr/>
        </p:nvSpPr>
        <p:spPr>
          <a:xfrm>
            <a:off x="3148901" y="673036"/>
            <a:ext cx="9043098" cy="6190551"/>
          </a:xfrm>
          <a:custGeom>
            <a:avLst/>
            <a:gdLst>
              <a:gd name="connsiteX0" fmla="*/ 9043098 w 9043098"/>
              <a:gd name="connsiteY0" fmla="*/ 0 h 6190551"/>
              <a:gd name="connsiteX1" fmla="*/ 9043098 w 9043098"/>
              <a:gd name="connsiteY1" fmla="*/ 6190552 h 6190551"/>
              <a:gd name="connsiteX2" fmla="*/ 0 w 9043098"/>
              <a:gd name="connsiteY2" fmla="*/ 6190552 h 6190551"/>
              <a:gd name="connsiteX3" fmla="*/ 0 w 9043098"/>
              <a:gd name="connsiteY3" fmla="*/ 5556568 h 6190551"/>
              <a:gd name="connsiteX4" fmla="*/ 3030347 w 9043098"/>
              <a:gd name="connsiteY4" fmla="*/ 2526221 h 6190551"/>
              <a:gd name="connsiteX5" fmla="*/ 5368100 w 9043098"/>
              <a:gd name="connsiteY5" fmla="*/ 3738372 h 6190551"/>
              <a:gd name="connsiteX6" fmla="*/ 8320088 w 9043098"/>
              <a:gd name="connsiteY6" fmla="*/ 735457 h 6190551"/>
              <a:gd name="connsiteX7" fmla="*/ 9043098 w 9043098"/>
              <a:gd name="connsiteY7" fmla="*/ 0 h 619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3098" h="6190551">
                <a:moveTo>
                  <a:pt x="9043098" y="0"/>
                </a:moveTo>
                <a:lnTo>
                  <a:pt x="9043098" y="6190552"/>
                </a:lnTo>
                <a:lnTo>
                  <a:pt x="0" y="6190552"/>
                </a:lnTo>
                <a:lnTo>
                  <a:pt x="0" y="5556568"/>
                </a:lnTo>
                <a:lnTo>
                  <a:pt x="3030347" y="2526221"/>
                </a:lnTo>
                <a:lnTo>
                  <a:pt x="5368100" y="3738372"/>
                </a:lnTo>
                <a:lnTo>
                  <a:pt x="8320088" y="735457"/>
                </a:lnTo>
                <a:lnTo>
                  <a:pt x="9043098" y="0"/>
                </a:lnTo>
                <a:close/>
              </a:path>
            </a:pathLst>
          </a:custGeom>
          <a:solidFill>
            <a:srgbClr val="4E644B"/>
          </a:solidFill>
          <a:ln w="6350" cap="flat">
            <a:noFill/>
            <a:prstDash val="solid"/>
            <a:miter/>
          </a:ln>
        </p:spPr>
        <p:txBody>
          <a:bodyPr rtlCol="0" anchor="ctr"/>
          <a:lstStyle/>
          <a:p>
            <a:endParaRPr lang="en-GB"/>
          </a:p>
        </p:txBody>
      </p:sp>
      <p:sp>
        <p:nvSpPr>
          <p:cNvPr id="14" name="Kombinationstegning: figur 13">
            <a:extLst>
              <a:ext uri="{FF2B5EF4-FFF2-40B4-BE49-F238E27FC236}">
                <a16:creationId xmlns:a16="http://schemas.microsoft.com/office/drawing/2014/main" id="{70603C1B-6D55-59B7-AF59-07C229678FFF}"/>
              </a:ext>
            </a:extLst>
          </p:cNvPr>
          <p:cNvSpPr/>
          <p:nvPr/>
        </p:nvSpPr>
        <p:spPr>
          <a:xfrm>
            <a:off x="-10667" y="2051430"/>
            <a:ext cx="4717732" cy="4812157"/>
          </a:xfrm>
          <a:custGeom>
            <a:avLst/>
            <a:gdLst>
              <a:gd name="connsiteX0" fmla="*/ 4717733 w 4717732"/>
              <a:gd name="connsiteY0" fmla="*/ 1759077 h 4812157"/>
              <a:gd name="connsiteX1" fmla="*/ 4717733 w 4717732"/>
              <a:gd name="connsiteY1" fmla="*/ 4812157 h 4812157"/>
              <a:gd name="connsiteX2" fmla="*/ 0 w 4717732"/>
              <a:gd name="connsiteY2" fmla="*/ 4812157 h 4812157"/>
              <a:gd name="connsiteX3" fmla="*/ 10668 w 4717732"/>
              <a:gd name="connsiteY3" fmla="*/ 4801870 h 4812157"/>
              <a:gd name="connsiteX4" fmla="*/ 10668 w 4717732"/>
              <a:gd name="connsiteY4" fmla="*/ 2599817 h 4812157"/>
              <a:gd name="connsiteX5" fmla="*/ 1143635 w 4717732"/>
              <a:gd name="connsiteY5" fmla="*/ 2085022 h 4812157"/>
              <a:gd name="connsiteX6" fmla="*/ 1861058 w 4717732"/>
              <a:gd name="connsiteY6" fmla="*/ 1759077 h 4812157"/>
              <a:gd name="connsiteX7" fmla="*/ 1861058 w 4717732"/>
              <a:gd name="connsiteY7" fmla="*/ 0 h 4812157"/>
              <a:gd name="connsiteX8" fmla="*/ 3159570 w 4717732"/>
              <a:gd name="connsiteY8" fmla="*/ 799592 h 4812157"/>
              <a:gd name="connsiteX9" fmla="*/ 4717733 w 4717732"/>
              <a:gd name="connsiteY9" fmla="*/ 1759077 h 481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7732" h="4812157">
                <a:moveTo>
                  <a:pt x="4717733" y="1759077"/>
                </a:moveTo>
                <a:lnTo>
                  <a:pt x="4717733" y="4812157"/>
                </a:lnTo>
                <a:lnTo>
                  <a:pt x="0" y="4812157"/>
                </a:lnTo>
                <a:lnTo>
                  <a:pt x="10668" y="4801870"/>
                </a:lnTo>
                <a:lnTo>
                  <a:pt x="10668" y="2599817"/>
                </a:lnTo>
                <a:lnTo>
                  <a:pt x="1143635" y="2085022"/>
                </a:lnTo>
                <a:lnTo>
                  <a:pt x="1861058" y="1759077"/>
                </a:lnTo>
                <a:lnTo>
                  <a:pt x="1861058" y="0"/>
                </a:lnTo>
                <a:lnTo>
                  <a:pt x="3159570" y="799592"/>
                </a:lnTo>
                <a:lnTo>
                  <a:pt x="4717733" y="1759077"/>
                </a:lnTo>
                <a:close/>
              </a:path>
            </a:pathLst>
          </a:custGeom>
          <a:solidFill>
            <a:srgbClr val="234432"/>
          </a:solidFill>
          <a:ln w="6350" cap="flat">
            <a:noFill/>
            <a:prstDash val="solid"/>
            <a:miter/>
          </a:ln>
        </p:spPr>
        <p:txBody>
          <a:bodyPr rtlCol="0" anchor="ctr"/>
          <a:lstStyle/>
          <a:p>
            <a:endParaRPr lang="en-GB"/>
          </a:p>
        </p:txBody>
      </p:sp>
      <p:sp>
        <p:nvSpPr>
          <p:cNvPr id="15" name="Kombinationstegning: figur 14">
            <a:extLst>
              <a:ext uri="{FF2B5EF4-FFF2-40B4-BE49-F238E27FC236}">
                <a16:creationId xmlns:a16="http://schemas.microsoft.com/office/drawing/2014/main" id="{F9C32E51-1FD8-C52F-185F-EAC3A2637720}"/>
              </a:ext>
            </a:extLst>
          </p:cNvPr>
          <p:cNvSpPr/>
          <p:nvPr/>
        </p:nvSpPr>
        <p:spPr>
          <a:xfrm>
            <a:off x="0" y="2958464"/>
            <a:ext cx="1132966" cy="3905123"/>
          </a:xfrm>
          <a:custGeom>
            <a:avLst/>
            <a:gdLst>
              <a:gd name="connsiteX0" fmla="*/ 1132967 w 1132966"/>
              <a:gd name="connsiteY0" fmla="*/ 0 h 3905123"/>
              <a:gd name="connsiteX1" fmla="*/ 1132967 w 1132966"/>
              <a:gd name="connsiteY1" fmla="*/ 3905123 h 3905123"/>
              <a:gd name="connsiteX2" fmla="*/ 561340 w 1132966"/>
              <a:gd name="connsiteY2" fmla="*/ 3355023 h 3905123"/>
              <a:gd name="connsiteX3" fmla="*/ 0 w 1132966"/>
              <a:gd name="connsiteY3" fmla="*/ 3894836 h 3905123"/>
              <a:gd name="connsiteX4" fmla="*/ 0 w 1132966"/>
              <a:gd name="connsiteY4" fmla="*/ 10351 h 3905123"/>
              <a:gd name="connsiteX5" fmla="*/ 561340 w 1132966"/>
              <a:gd name="connsiteY5" fmla="*/ 554863 h 3905123"/>
              <a:gd name="connsiteX6" fmla="*/ 1132967 w 1132966"/>
              <a:gd name="connsiteY6" fmla="*/ 0 h 390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2966" h="3905123">
                <a:moveTo>
                  <a:pt x="1132967" y="0"/>
                </a:moveTo>
                <a:lnTo>
                  <a:pt x="1132967" y="3905123"/>
                </a:lnTo>
                <a:lnTo>
                  <a:pt x="561340" y="3355023"/>
                </a:lnTo>
                <a:lnTo>
                  <a:pt x="0" y="3894836"/>
                </a:lnTo>
                <a:lnTo>
                  <a:pt x="0" y="10351"/>
                </a:lnTo>
                <a:lnTo>
                  <a:pt x="561340" y="554863"/>
                </a:lnTo>
                <a:lnTo>
                  <a:pt x="1132967" y="0"/>
                </a:lnTo>
                <a:close/>
              </a:path>
            </a:pathLst>
          </a:custGeom>
          <a:solidFill>
            <a:srgbClr val="4E644B"/>
          </a:solidFill>
          <a:ln w="6350" cap="flat">
            <a:noFill/>
            <a:prstDash val="solid"/>
            <a:miter/>
          </a:ln>
        </p:spPr>
        <p:txBody>
          <a:bodyPr rtlCol="0" anchor="ctr"/>
          <a:lstStyle/>
          <a:p>
            <a:endParaRPr lang="en-GB"/>
          </a:p>
        </p:txBody>
      </p:sp>
      <p:sp>
        <p:nvSpPr>
          <p:cNvPr id="6" name="Kombinationstegning: figur 5">
            <a:extLst>
              <a:ext uri="{FF2B5EF4-FFF2-40B4-BE49-F238E27FC236}">
                <a16:creationId xmlns:a16="http://schemas.microsoft.com/office/drawing/2014/main" id="{9AC2BE9E-5961-0209-2388-7912219A5962}"/>
              </a:ext>
            </a:extLst>
          </p:cNvPr>
          <p:cNvSpPr/>
          <p:nvPr/>
        </p:nvSpPr>
        <p:spPr>
          <a:xfrm>
            <a:off x="1" y="5865964"/>
            <a:ext cx="1415520" cy="996863"/>
          </a:xfrm>
          <a:custGeom>
            <a:avLst/>
            <a:gdLst>
              <a:gd name="connsiteX0" fmla="*/ 0 w 1415520"/>
              <a:gd name="connsiteY0" fmla="*/ 0 h 996863"/>
              <a:gd name="connsiteX1" fmla="*/ 1132967 w 1415520"/>
              <a:gd name="connsiteY1" fmla="*/ 559372 h 996863"/>
              <a:gd name="connsiteX2" fmla="*/ 1387827 w 1415520"/>
              <a:gd name="connsiteY2" fmla="*/ 934415 h 996863"/>
              <a:gd name="connsiteX3" fmla="*/ 1415520 w 1415520"/>
              <a:gd name="connsiteY3" fmla="*/ 996863 h 996863"/>
              <a:gd name="connsiteX4" fmla="*/ 0 w 1415520"/>
              <a:gd name="connsiteY4" fmla="*/ 996863 h 99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520" h="996863">
                <a:moveTo>
                  <a:pt x="0" y="0"/>
                </a:moveTo>
                <a:cubicBezTo>
                  <a:pt x="449263" y="33973"/>
                  <a:pt x="849630" y="243142"/>
                  <a:pt x="1132967" y="559372"/>
                </a:cubicBezTo>
                <a:cubicBezTo>
                  <a:pt x="1233742" y="671863"/>
                  <a:pt x="1319720" y="797899"/>
                  <a:pt x="1387827" y="934415"/>
                </a:cubicBezTo>
                <a:lnTo>
                  <a:pt x="1415520" y="996863"/>
                </a:lnTo>
                <a:lnTo>
                  <a:pt x="0" y="996863"/>
                </a:lnTo>
                <a:close/>
              </a:path>
            </a:pathLst>
          </a:custGeom>
          <a:solidFill>
            <a:srgbClr val="AFC0AA"/>
          </a:solidFill>
          <a:ln w="6350" cap="flat">
            <a:noFill/>
            <a:prstDash val="solid"/>
            <a:miter/>
          </a:ln>
        </p:spPr>
        <p:txBody>
          <a:bodyPr wrap="square" rtlCol="0" anchor="ctr">
            <a:noAutofit/>
          </a:bodyPr>
          <a:lstStyle/>
          <a:p>
            <a:endParaRPr lang="en-GB"/>
          </a:p>
        </p:txBody>
      </p:sp>
      <p:sp>
        <p:nvSpPr>
          <p:cNvPr id="17" name="Kombinationstegning: figur 16">
            <a:extLst>
              <a:ext uri="{FF2B5EF4-FFF2-40B4-BE49-F238E27FC236}">
                <a16:creationId xmlns:a16="http://schemas.microsoft.com/office/drawing/2014/main" id="{EB731921-0B61-D55A-3FD3-894C437C51B0}"/>
              </a:ext>
            </a:extLst>
          </p:cNvPr>
          <p:cNvSpPr/>
          <p:nvPr/>
        </p:nvSpPr>
        <p:spPr>
          <a:xfrm>
            <a:off x="1122172" y="0"/>
            <a:ext cx="4053395" cy="1693354"/>
          </a:xfrm>
          <a:custGeom>
            <a:avLst/>
            <a:gdLst>
              <a:gd name="connsiteX0" fmla="*/ 4053396 w 4053395"/>
              <a:gd name="connsiteY0" fmla="*/ 0 h 1693354"/>
              <a:gd name="connsiteX1" fmla="*/ 2026666 w 4053395"/>
              <a:gd name="connsiteY1" fmla="*/ 1693355 h 1693354"/>
              <a:gd name="connsiteX2" fmla="*/ 0 w 4053395"/>
              <a:gd name="connsiteY2" fmla="*/ 0 h 1693354"/>
              <a:gd name="connsiteX3" fmla="*/ 4053396 w 4053395"/>
              <a:gd name="connsiteY3" fmla="*/ 0 h 1693354"/>
            </a:gdLst>
            <a:ahLst/>
            <a:cxnLst>
              <a:cxn ang="0">
                <a:pos x="connsiteX0" y="connsiteY0"/>
              </a:cxn>
              <a:cxn ang="0">
                <a:pos x="connsiteX1" y="connsiteY1"/>
              </a:cxn>
              <a:cxn ang="0">
                <a:pos x="connsiteX2" y="connsiteY2"/>
              </a:cxn>
              <a:cxn ang="0">
                <a:pos x="connsiteX3" y="connsiteY3"/>
              </a:cxn>
            </a:cxnLst>
            <a:rect l="l" t="t" r="r" b="b"/>
            <a:pathLst>
              <a:path w="4053395" h="1693354">
                <a:moveTo>
                  <a:pt x="4053396" y="0"/>
                </a:moveTo>
                <a:cubicBezTo>
                  <a:pt x="3880866" y="962724"/>
                  <a:pt x="3039174" y="1693355"/>
                  <a:pt x="2026666" y="1693355"/>
                </a:cubicBezTo>
                <a:cubicBezTo>
                  <a:pt x="1014158" y="1693355"/>
                  <a:pt x="172657" y="962724"/>
                  <a:pt x="0" y="0"/>
                </a:cubicBezTo>
                <a:lnTo>
                  <a:pt x="4053396" y="0"/>
                </a:lnTo>
                <a:close/>
              </a:path>
            </a:pathLst>
          </a:custGeom>
          <a:solidFill>
            <a:srgbClr val="FFE18C"/>
          </a:solidFill>
          <a:ln w="6350" cap="flat">
            <a:noFill/>
            <a:prstDash val="solid"/>
            <a:miter/>
          </a:ln>
        </p:spPr>
        <p:txBody>
          <a:bodyPr rtlCol="0" anchor="ctr"/>
          <a:lstStyle/>
          <a:p>
            <a:endParaRPr lang="en-GB"/>
          </a:p>
        </p:txBody>
      </p:sp>
      <p:sp>
        <p:nvSpPr>
          <p:cNvPr id="18" name="Kombinationstegning: figur 17">
            <a:extLst>
              <a:ext uri="{FF2B5EF4-FFF2-40B4-BE49-F238E27FC236}">
                <a16:creationId xmlns:a16="http://schemas.microsoft.com/office/drawing/2014/main" id="{80E914FD-70CC-D50C-3869-D09A19C837CE}"/>
              </a:ext>
            </a:extLst>
          </p:cNvPr>
          <p:cNvSpPr/>
          <p:nvPr/>
        </p:nvSpPr>
        <p:spPr>
          <a:xfrm>
            <a:off x="-10667" y="6853301"/>
            <a:ext cx="10667" cy="10286"/>
          </a:xfrm>
          <a:custGeom>
            <a:avLst/>
            <a:gdLst>
              <a:gd name="connsiteX0" fmla="*/ 10668 w 10667"/>
              <a:gd name="connsiteY0" fmla="*/ 0 h 10286"/>
              <a:gd name="connsiteX1" fmla="*/ 10668 w 10667"/>
              <a:gd name="connsiteY1" fmla="*/ 10287 h 10286"/>
              <a:gd name="connsiteX2" fmla="*/ 0 w 10667"/>
              <a:gd name="connsiteY2" fmla="*/ 10287 h 10286"/>
              <a:gd name="connsiteX3" fmla="*/ 10668 w 10667"/>
              <a:gd name="connsiteY3" fmla="*/ 0 h 10286"/>
            </a:gdLst>
            <a:ahLst/>
            <a:cxnLst>
              <a:cxn ang="0">
                <a:pos x="connsiteX0" y="connsiteY0"/>
              </a:cxn>
              <a:cxn ang="0">
                <a:pos x="connsiteX1" y="connsiteY1"/>
              </a:cxn>
              <a:cxn ang="0">
                <a:pos x="connsiteX2" y="connsiteY2"/>
              </a:cxn>
              <a:cxn ang="0">
                <a:pos x="connsiteX3" y="connsiteY3"/>
              </a:cxn>
            </a:cxnLst>
            <a:rect l="l" t="t" r="r" b="b"/>
            <a:pathLst>
              <a:path w="10667" h="10286">
                <a:moveTo>
                  <a:pt x="10668" y="0"/>
                </a:moveTo>
                <a:lnTo>
                  <a:pt x="10668" y="10287"/>
                </a:lnTo>
                <a:lnTo>
                  <a:pt x="0" y="10287"/>
                </a:lnTo>
                <a:lnTo>
                  <a:pt x="10668" y="0"/>
                </a:lnTo>
                <a:close/>
              </a:path>
            </a:pathLst>
          </a:custGeom>
          <a:solidFill>
            <a:srgbClr val="4E644B"/>
          </a:solidFill>
          <a:ln w="6350" cap="flat">
            <a:noFill/>
            <a:prstDash val="solid"/>
            <a:miter/>
          </a:ln>
        </p:spPr>
        <p:txBody>
          <a:bodyPr rtlCol="0" anchor="ctr"/>
          <a:lstStyle/>
          <a:p>
            <a:endParaRPr lang="en-GB"/>
          </a:p>
        </p:txBody>
      </p:sp>
      <p:pic>
        <p:nvPicPr>
          <p:cNvPr id="3" name="Graphic 5">
            <a:extLst>
              <a:ext uri="{FF2B5EF4-FFF2-40B4-BE49-F238E27FC236}">
                <a16:creationId xmlns:a16="http://schemas.microsoft.com/office/drawing/2014/main" id="{26136532-209F-CC61-6876-8EF07CCAA4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9" name="Title 1">
            <a:extLst>
              <a:ext uri="{FF2B5EF4-FFF2-40B4-BE49-F238E27FC236}">
                <a16:creationId xmlns:a16="http://schemas.microsoft.com/office/drawing/2014/main" id="{34352264-6FAD-C4FF-EB0B-A616A86C8619}"/>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bg1"/>
                </a:solidFill>
              </a:defRPr>
            </a:lvl1pPr>
          </a:lstStyle>
          <a:p>
            <a:r>
              <a:rPr lang="en-GB"/>
              <a:t>Breaker</a:t>
            </a:r>
          </a:p>
        </p:txBody>
      </p:sp>
      <p:sp>
        <p:nvSpPr>
          <p:cNvPr id="2" name="Slide Number Placeholder 5">
            <a:extLst>
              <a:ext uri="{FF2B5EF4-FFF2-40B4-BE49-F238E27FC236}">
                <a16:creationId xmlns:a16="http://schemas.microsoft.com/office/drawing/2014/main" id="{4A4C1D1E-7B14-C821-17E8-18184625AEDA}"/>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
        <p:nvSpPr>
          <p:cNvPr id="4" name="Subtitle 2">
            <a:extLst>
              <a:ext uri="{FF2B5EF4-FFF2-40B4-BE49-F238E27FC236}">
                <a16:creationId xmlns:a16="http://schemas.microsoft.com/office/drawing/2014/main" id="{B7D71418-4048-9197-ABC3-55FF39F10E55}"/>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Tekst</a:t>
            </a:r>
            <a:r>
              <a:rPr lang="en-GB"/>
              <a:t>/</a:t>
            </a:r>
            <a:r>
              <a:rPr lang="en-GB" err="1"/>
              <a:t>dato</a:t>
            </a:r>
            <a:endParaRPr lang="en-GB"/>
          </a:p>
        </p:txBody>
      </p:sp>
    </p:spTree>
    <p:extLst>
      <p:ext uri="{BB962C8B-B14F-4D97-AF65-F5344CB8AC3E}">
        <p14:creationId xmlns:p14="http://schemas.microsoft.com/office/powerpoint/2010/main" val="1924442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reaker 4">
    <p:bg>
      <p:bgPr>
        <a:solidFill>
          <a:schemeClr val="accent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312BB1-BA59-CFAA-E2BA-B4FE53151E82}"/>
              </a:ext>
            </a:extLst>
          </p:cNvPr>
          <p:cNvGraphicFramePr>
            <a:graphicFrameLocks noChangeAspect="1"/>
          </p:cNvGraphicFramePr>
          <p:nvPr userDrawn="1">
            <p:custDataLst>
              <p:tags r:id="rId1"/>
            </p:custDataLst>
            <p:extLst>
              <p:ext uri="{D42A27DB-BD31-4B8C-83A1-F6EECF244321}">
                <p14:modId xmlns:p14="http://schemas.microsoft.com/office/powerpoint/2010/main" val="330851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7312BB1-BA59-CFAA-E2BA-B4FE53151E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5">
            <a:extLst>
              <a:ext uri="{FF2B5EF4-FFF2-40B4-BE49-F238E27FC236}">
                <a16:creationId xmlns:a16="http://schemas.microsoft.com/office/drawing/2014/main" id="{26136532-209F-CC61-6876-8EF07CCAA4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75D72A14-076E-5332-1D4D-89512154FBB7}"/>
              </a:ext>
            </a:extLst>
          </p:cNvPr>
          <p:cNvSpPr>
            <a:spLocks noGrp="1"/>
          </p:cNvSpPr>
          <p:nvPr>
            <p:ph type="ctrTitle" hasCustomPrompt="1"/>
          </p:nvPr>
        </p:nvSpPr>
        <p:spPr>
          <a:xfrm>
            <a:off x="431800" y="3429000"/>
            <a:ext cx="6607175" cy="2039295"/>
          </a:xfrm>
        </p:spPr>
        <p:txBody>
          <a:bodyPr vert="horz" anchor="b" anchorCtr="0">
            <a:noAutofit/>
          </a:bodyPr>
          <a:lstStyle>
            <a:lvl1pPr algn="l">
              <a:lnSpc>
                <a:spcPct val="100000"/>
              </a:lnSpc>
              <a:defRPr sz="4800">
                <a:solidFill>
                  <a:schemeClr val="bg1"/>
                </a:solidFill>
              </a:defRPr>
            </a:lvl1pPr>
          </a:lstStyle>
          <a:p>
            <a:r>
              <a:rPr lang="en-GB"/>
              <a:t>Breaker</a:t>
            </a:r>
          </a:p>
        </p:txBody>
      </p:sp>
      <p:sp>
        <p:nvSpPr>
          <p:cNvPr id="2" name="Slide Number Placeholder 5">
            <a:extLst>
              <a:ext uri="{FF2B5EF4-FFF2-40B4-BE49-F238E27FC236}">
                <a16:creationId xmlns:a16="http://schemas.microsoft.com/office/drawing/2014/main" id="{2FB2CA45-F4A7-E70C-3144-6E13F0245523}"/>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20910269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p:txBody>
          <a:bodyPr/>
          <a:lstStyle>
            <a:lvl1pPr>
              <a:defRPr>
                <a:solidFill>
                  <a:schemeClr val="bg1"/>
                </a:solidFill>
              </a:defRPr>
            </a:lvl1pPr>
          </a:lstStyle>
          <a:p>
            <a:r>
              <a:rPr lang="da-DK"/>
              <a:t>Agenda (Klik for at ændre overskrift)</a:t>
            </a:r>
          </a:p>
        </p:txBody>
      </p:sp>
      <p:pic>
        <p:nvPicPr>
          <p:cNvPr id="7" name="Graphic 5">
            <a:extLst>
              <a:ext uri="{FF2B5EF4-FFF2-40B4-BE49-F238E27FC236}">
                <a16:creationId xmlns:a16="http://schemas.microsoft.com/office/drawing/2014/main" id="{21CD1B7E-FEC6-5D6C-92B2-ABE378767B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5" name="Slide Number Placeholder 5">
            <a:extLst>
              <a:ext uri="{FF2B5EF4-FFF2-40B4-BE49-F238E27FC236}">
                <a16:creationId xmlns:a16="http://schemas.microsoft.com/office/drawing/2014/main" id="{52DFB315-87C8-8749-06F0-8885103AB37F}"/>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
        <p:nvSpPr>
          <p:cNvPr id="4" name="Pladsholder til tekst 3">
            <a:extLst>
              <a:ext uri="{FF2B5EF4-FFF2-40B4-BE49-F238E27FC236}">
                <a16:creationId xmlns:a16="http://schemas.microsoft.com/office/drawing/2014/main" id="{8094FFC7-00A3-8193-D407-24E427D0B01D}"/>
              </a:ext>
            </a:extLst>
          </p:cNvPr>
          <p:cNvSpPr>
            <a:spLocks noGrp="1"/>
          </p:cNvSpPr>
          <p:nvPr>
            <p:ph type="body" sz="quarter" idx="10" hasCustomPrompt="1"/>
          </p:nvPr>
        </p:nvSpPr>
        <p:spPr>
          <a:xfrm>
            <a:off x="431800" y="2528888"/>
            <a:ext cx="9439275" cy="3381375"/>
          </a:xfrm>
        </p:spPr>
        <p:txBody>
          <a:bodyPr/>
          <a:lstStyle>
            <a:lvl1pPr>
              <a:lnSpc>
                <a:spcPct val="120000"/>
              </a:lnSpc>
              <a:buFont typeface="+mj-lt"/>
              <a:buAutoNum type="arabicPeriod"/>
              <a:defRPr sz="2400">
                <a:solidFill>
                  <a:schemeClr val="bg1"/>
                </a:solidFill>
              </a:defRPr>
            </a:lvl1pPr>
            <a:lvl2pPr>
              <a:lnSpc>
                <a:spcPct val="120000"/>
              </a:lnSpc>
              <a:buFont typeface="+mj-lt"/>
              <a:buAutoNum type="arabicPeriod"/>
              <a:defRPr sz="2400">
                <a:solidFill>
                  <a:schemeClr val="bg1"/>
                </a:solidFill>
              </a:defRPr>
            </a:lvl2pPr>
            <a:lvl3pPr marL="885825" indent="-342900">
              <a:lnSpc>
                <a:spcPct val="120000"/>
              </a:lnSpc>
              <a:buFont typeface="+mj-lt"/>
              <a:buAutoNum type="arabicPeriod"/>
              <a:defRPr sz="2400">
                <a:solidFill>
                  <a:schemeClr val="bg1"/>
                </a:solidFill>
              </a:defRPr>
            </a:lvl3pPr>
            <a:lvl4pPr marL="1238250" indent="-342900">
              <a:lnSpc>
                <a:spcPct val="120000"/>
              </a:lnSpc>
              <a:buFont typeface="+mj-lt"/>
              <a:buAutoNum type="arabicPeriod"/>
              <a:defRPr sz="2400">
                <a:solidFill>
                  <a:schemeClr val="bg1"/>
                </a:solidFill>
              </a:defRPr>
            </a:lvl4pPr>
            <a:lvl5pPr marL="1509713" indent="-342900">
              <a:lnSpc>
                <a:spcPct val="120000"/>
              </a:lnSpc>
              <a:buFont typeface="+mj-lt"/>
              <a:buAutoNum type="arabicPeriod"/>
              <a:defRPr sz="24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521663653"/>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itat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41062-572A-D9DD-E27F-469CD0C7914D}"/>
              </a:ext>
            </a:extLst>
          </p:cNvPr>
          <p:cNvSpPr>
            <a:spLocks noGrp="1"/>
          </p:cNvSpPr>
          <p:nvPr>
            <p:ph type="ctrTitle" hasCustomPrompt="1"/>
          </p:nvPr>
        </p:nvSpPr>
        <p:spPr>
          <a:xfrm>
            <a:off x="1375200" y="1152001"/>
            <a:ext cx="9440862" cy="4554000"/>
          </a:xfrm>
        </p:spPr>
        <p:txBody>
          <a:bodyPr anchor="ctr" anchorCtr="0">
            <a:noAutofit/>
          </a:bodyPr>
          <a:lstStyle>
            <a:lvl1pPr algn="ctr">
              <a:lnSpc>
                <a:spcPts val="5000"/>
              </a:lnSpc>
              <a:defRPr sz="4600"/>
            </a:lvl1pPr>
          </a:lstStyle>
          <a:p>
            <a:r>
              <a:rPr lang="en-GB"/>
              <a:t>"Citat”</a:t>
            </a:r>
          </a:p>
        </p:txBody>
      </p:sp>
      <p:pic>
        <p:nvPicPr>
          <p:cNvPr id="3" name="Graphic 5">
            <a:extLst>
              <a:ext uri="{FF2B5EF4-FFF2-40B4-BE49-F238E27FC236}">
                <a16:creationId xmlns:a16="http://schemas.microsoft.com/office/drawing/2014/main" id="{B8D5F003-AB9A-39E4-8830-1DFA5DA12B9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249FCB7F-0070-743D-3028-8166860836C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2545146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itat 2 m. Basis former">
    <p:bg>
      <p:bgPr>
        <a:solidFill>
          <a:schemeClr val="accent3"/>
        </a:solidFill>
        <a:effectLst/>
      </p:bgPr>
    </p:bg>
    <p:spTree>
      <p:nvGrpSpPr>
        <p:cNvPr id="1" name=""/>
        <p:cNvGrpSpPr/>
        <p:nvPr/>
      </p:nvGrpSpPr>
      <p:grpSpPr>
        <a:xfrm>
          <a:off x="0" y="0"/>
          <a:ext cx="0" cy="0"/>
          <a:chOff x="0" y="0"/>
          <a:chExt cx="0" cy="0"/>
        </a:xfrm>
      </p:grpSpPr>
      <p:sp>
        <p:nvSpPr>
          <p:cNvPr id="10" name="Kombinationstegning: figur 9">
            <a:extLst>
              <a:ext uri="{FF2B5EF4-FFF2-40B4-BE49-F238E27FC236}">
                <a16:creationId xmlns:a16="http://schemas.microsoft.com/office/drawing/2014/main" id="{56280EED-93A1-77F9-A9D7-99BA516E874C}"/>
              </a:ext>
            </a:extLst>
          </p:cNvPr>
          <p:cNvSpPr>
            <a:spLocks noChangeAspect="1"/>
          </p:cNvSpPr>
          <p:nvPr/>
        </p:nvSpPr>
        <p:spPr>
          <a:xfrm>
            <a:off x="431800" y="0"/>
            <a:ext cx="1900800" cy="1306686"/>
          </a:xfrm>
          <a:custGeom>
            <a:avLst/>
            <a:gdLst>
              <a:gd name="connsiteX0" fmla="*/ 582083 w 2207683"/>
              <a:gd name="connsiteY0" fmla="*/ 0 h 1517650"/>
              <a:gd name="connsiteX1" fmla="*/ 1001183 w 2207683"/>
              <a:gd name="connsiteY1" fmla="*/ 0 h 1517650"/>
              <a:gd name="connsiteX2" fmla="*/ 753533 w 2207683"/>
              <a:gd name="connsiteY2" fmla="*/ 1517650 h 1517650"/>
              <a:gd name="connsiteX3" fmla="*/ 118533 w 2207683"/>
              <a:gd name="connsiteY3" fmla="*/ 1517650 h 1517650"/>
              <a:gd name="connsiteX4" fmla="*/ 23283 w 2207683"/>
              <a:gd name="connsiteY4" fmla="*/ 1339850 h 1517650"/>
              <a:gd name="connsiteX5" fmla="*/ 582083 w 2207683"/>
              <a:gd name="connsiteY5" fmla="*/ 0 h 1517650"/>
              <a:gd name="connsiteX6" fmla="*/ 1788583 w 2207683"/>
              <a:gd name="connsiteY6" fmla="*/ 0 h 1517650"/>
              <a:gd name="connsiteX7" fmla="*/ 2207683 w 2207683"/>
              <a:gd name="connsiteY7" fmla="*/ 0 h 1517650"/>
              <a:gd name="connsiteX8" fmla="*/ 1960033 w 2207683"/>
              <a:gd name="connsiteY8" fmla="*/ 1517650 h 1517650"/>
              <a:gd name="connsiteX9" fmla="*/ 1325033 w 2207683"/>
              <a:gd name="connsiteY9" fmla="*/ 1517650 h 1517650"/>
              <a:gd name="connsiteX10" fmla="*/ 1229783 w 2207683"/>
              <a:gd name="connsiteY10" fmla="*/ 1339850 h 1517650"/>
              <a:gd name="connsiteX11" fmla="*/ 1788583 w 2207683"/>
              <a:gd name="connsiteY11" fmla="*/ 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582083" y="0"/>
                </a:moveTo>
                <a:lnTo>
                  <a:pt x="1001183" y="0"/>
                </a:lnTo>
                <a:lnTo>
                  <a:pt x="753533" y="1517650"/>
                </a:lnTo>
                <a:lnTo>
                  <a:pt x="118533" y="1517650"/>
                </a:lnTo>
                <a:cubicBezTo>
                  <a:pt x="-8467" y="1517650"/>
                  <a:pt x="-21167" y="1447800"/>
                  <a:pt x="23283" y="1339850"/>
                </a:cubicBezTo>
                <a:lnTo>
                  <a:pt x="582083" y="0"/>
                </a:lnTo>
                <a:close/>
                <a:moveTo>
                  <a:pt x="1788583" y="0"/>
                </a:moveTo>
                <a:lnTo>
                  <a:pt x="2207683" y="0"/>
                </a:lnTo>
                <a:lnTo>
                  <a:pt x="1960033" y="1517650"/>
                </a:lnTo>
                <a:lnTo>
                  <a:pt x="1325033" y="1517650"/>
                </a:lnTo>
                <a:cubicBezTo>
                  <a:pt x="1198033" y="1517650"/>
                  <a:pt x="1185333" y="1447800"/>
                  <a:pt x="1229783" y="1339850"/>
                </a:cubicBezTo>
                <a:lnTo>
                  <a:pt x="1788583" y="0"/>
                </a:lnTo>
                <a:close/>
              </a:path>
            </a:pathLst>
          </a:custGeom>
          <a:solidFill>
            <a:schemeClr val="accent1"/>
          </a:solidFill>
          <a:ln w="6350" cap="flat">
            <a:noFill/>
            <a:prstDash val="solid"/>
            <a:miter/>
          </a:ln>
        </p:spPr>
        <p:txBody>
          <a:bodyPr rtlCol="0" anchor="ctr"/>
          <a:lstStyle/>
          <a:p>
            <a:endParaRPr lang="en-GB"/>
          </a:p>
        </p:txBody>
      </p:sp>
      <p:sp>
        <p:nvSpPr>
          <p:cNvPr id="11" name="Kombinationstegning: figur 10">
            <a:extLst>
              <a:ext uri="{FF2B5EF4-FFF2-40B4-BE49-F238E27FC236}">
                <a16:creationId xmlns:a16="http://schemas.microsoft.com/office/drawing/2014/main" id="{57E36AE6-6B05-6B70-BA3E-561CBB7BAD17}"/>
              </a:ext>
            </a:extLst>
          </p:cNvPr>
          <p:cNvSpPr>
            <a:spLocks noChangeAspect="1"/>
          </p:cNvSpPr>
          <p:nvPr/>
        </p:nvSpPr>
        <p:spPr>
          <a:xfrm>
            <a:off x="9871075" y="5553599"/>
            <a:ext cx="1900800" cy="1306686"/>
          </a:xfrm>
          <a:custGeom>
            <a:avLst/>
            <a:gdLst>
              <a:gd name="connsiteX0" fmla="*/ 419100 w 2207683"/>
              <a:gd name="connsiteY0" fmla="*/ 1517650 h 1517650"/>
              <a:gd name="connsiteX1" fmla="*/ 0 w 2207683"/>
              <a:gd name="connsiteY1" fmla="*/ 1517650 h 1517650"/>
              <a:gd name="connsiteX2" fmla="*/ 247650 w 2207683"/>
              <a:gd name="connsiteY2" fmla="*/ 0 h 1517650"/>
              <a:gd name="connsiteX3" fmla="*/ 882650 w 2207683"/>
              <a:gd name="connsiteY3" fmla="*/ 0 h 1517650"/>
              <a:gd name="connsiteX4" fmla="*/ 977900 w 2207683"/>
              <a:gd name="connsiteY4" fmla="*/ 177800 h 1517650"/>
              <a:gd name="connsiteX5" fmla="*/ 419100 w 2207683"/>
              <a:gd name="connsiteY5" fmla="*/ 1517650 h 1517650"/>
              <a:gd name="connsiteX6" fmla="*/ 1625600 w 2207683"/>
              <a:gd name="connsiteY6" fmla="*/ 1517650 h 1517650"/>
              <a:gd name="connsiteX7" fmla="*/ 1206500 w 2207683"/>
              <a:gd name="connsiteY7" fmla="*/ 1517650 h 1517650"/>
              <a:gd name="connsiteX8" fmla="*/ 1454150 w 2207683"/>
              <a:gd name="connsiteY8" fmla="*/ 0 h 1517650"/>
              <a:gd name="connsiteX9" fmla="*/ 2089150 w 2207683"/>
              <a:gd name="connsiteY9" fmla="*/ 0 h 1517650"/>
              <a:gd name="connsiteX10" fmla="*/ 2184400 w 2207683"/>
              <a:gd name="connsiteY10" fmla="*/ 177800 h 1517650"/>
              <a:gd name="connsiteX11" fmla="*/ 1625600 w 2207683"/>
              <a:gd name="connsiteY11" fmla="*/ 151765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419100" y="1517650"/>
                </a:moveTo>
                <a:lnTo>
                  <a:pt x="0" y="1517650"/>
                </a:lnTo>
                <a:lnTo>
                  <a:pt x="247650" y="0"/>
                </a:lnTo>
                <a:lnTo>
                  <a:pt x="882650" y="0"/>
                </a:lnTo>
                <a:cubicBezTo>
                  <a:pt x="1009650" y="0"/>
                  <a:pt x="1022350" y="69850"/>
                  <a:pt x="977900" y="177800"/>
                </a:cubicBezTo>
                <a:lnTo>
                  <a:pt x="419100" y="1517650"/>
                </a:lnTo>
                <a:close/>
                <a:moveTo>
                  <a:pt x="1625600" y="1517650"/>
                </a:moveTo>
                <a:lnTo>
                  <a:pt x="1206500" y="1517650"/>
                </a:lnTo>
                <a:lnTo>
                  <a:pt x="1454150" y="0"/>
                </a:lnTo>
                <a:lnTo>
                  <a:pt x="2089150" y="0"/>
                </a:lnTo>
                <a:cubicBezTo>
                  <a:pt x="2216150" y="0"/>
                  <a:pt x="2228850" y="69850"/>
                  <a:pt x="2184400" y="177800"/>
                </a:cubicBezTo>
                <a:lnTo>
                  <a:pt x="1625600" y="1517650"/>
                </a:lnTo>
                <a:close/>
              </a:path>
            </a:pathLst>
          </a:custGeom>
          <a:solidFill>
            <a:schemeClr val="accent1"/>
          </a:solidFill>
          <a:ln w="6350" cap="flat">
            <a:noFill/>
            <a:prstDash val="solid"/>
            <a:miter/>
          </a:ln>
        </p:spPr>
        <p:txBody>
          <a:bodyPr rtlCol="0" anchor="ctr"/>
          <a:lstStyle/>
          <a:p>
            <a:endParaRPr lang="en-GB">
              <a:solidFill>
                <a:schemeClr val="accent1"/>
              </a:solidFill>
            </a:endParaRPr>
          </a:p>
        </p:txBody>
      </p:sp>
      <p:pic>
        <p:nvPicPr>
          <p:cNvPr id="3" name="Graphic 5">
            <a:extLst>
              <a:ext uri="{FF2B5EF4-FFF2-40B4-BE49-F238E27FC236}">
                <a16:creationId xmlns:a16="http://schemas.microsoft.com/office/drawing/2014/main" id="{CD3F4DF6-1E96-E086-5E31-358D1B86B4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Title 1">
            <a:extLst>
              <a:ext uri="{FF2B5EF4-FFF2-40B4-BE49-F238E27FC236}">
                <a16:creationId xmlns:a16="http://schemas.microsoft.com/office/drawing/2014/main" id="{2CDCAAB6-6999-8BB9-B9EA-51F6D7622067}"/>
              </a:ext>
            </a:extLst>
          </p:cNvPr>
          <p:cNvSpPr>
            <a:spLocks noGrp="1"/>
          </p:cNvSpPr>
          <p:nvPr>
            <p:ph type="ctrTitle" hasCustomPrompt="1"/>
          </p:nvPr>
        </p:nvSpPr>
        <p:spPr>
          <a:xfrm>
            <a:off x="1375200" y="1925435"/>
            <a:ext cx="9440862" cy="3007130"/>
          </a:xfrm>
        </p:spPr>
        <p:txBody>
          <a:bodyPr anchor="ctr" anchorCtr="0">
            <a:noAutofit/>
          </a:bodyPr>
          <a:lstStyle>
            <a:lvl1pPr algn="ctr">
              <a:lnSpc>
                <a:spcPts val="5000"/>
              </a:lnSpc>
              <a:defRPr sz="4600">
                <a:solidFill>
                  <a:schemeClr val="bg1"/>
                </a:solidFill>
              </a:defRPr>
            </a:lvl1pPr>
          </a:lstStyle>
          <a:p>
            <a:r>
              <a:rPr lang="en-GB"/>
              <a:t>"Citat”</a:t>
            </a:r>
          </a:p>
        </p:txBody>
      </p:sp>
      <p:sp>
        <p:nvSpPr>
          <p:cNvPr id="14" name="Pladsholder til tekst 13">
            <a:extLst>
              <a:ext uri="{FF2B5EF4-FFF2-40B4-BE49-F238E27FC236}">
                <a16:creationId xmlns:a16="http://schemas.microsoft.com/office/drawing/2014/main" id="{68A13AFD-FEF2-49E8-C04E-C7AAC8330BD6}"/>
              </a:ext>
            </a:extLst>
          </p:cNvPr>
          <p:cNvSpPr>
            <a:spLocks noGrp="1"/>
          </p:cNvSpPr>
          <p:nvPr>
            <p:ph type="body" sz="quarter" idx="13" hasCustomPrompt="1"/>
          </p:nvPr>
        </p:nvSpPr>
        <p:spPr>
          <a:xfrm>
            <a:off x="1343025" y="5560421"/>
            <a:ext cx="9472613" cy="387350"/>
          </a:xfrm>
        </p:spPr>
        <p:txBody>
          <a:bodyPr/>
          <a:lstStyle>
            <a:lvl1pPr marL="0" indent="0" algn="ctr">
              <a:buNone/>
              <a:defRPr i="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err="1"/>
              <a:t>Navn</a:t>
            </a:r>
            <a:r>
              <a:rPr lang="en-GB"/>
              <a:t> </a:t>
            </a:r>
            <a:r>
              <a:rPr lang="en-GB" err="1"/>
              <a:t>på</a:t>
            </a:r>
            <a:r>
              <a:rPr lang="en-GB"/>
              <a:t> person, stilling</a:t>
            </a:r>
          </a:p>
        </p:txBody>
      </p:sp>
      <p:sp>
        <p:nvSpPr>
          <p:cNvPr id="2" name="Slide Number Placeholder 5">
            <a:extLst>
              <a:ext uri="{FF2B5EF4-FFF2-40B4-BE49-F238E27FC236}">
                <a16:creationId xmlns:a16="http://schemas.microsoft.com/office/drawing/2014/main" id="{6AF9052A-0BA4-668B-8EBC-14246FD72C6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6900228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itat 3 m. Basis Former CTA farve">
    <p:bg>
      <p:bgPr>
        <a:solidFill>
          <a:schemeClr val="accent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255BD6-25FE-0675-2CBE-47E317E0BA42}"/>
              </a:ext>
            </a:extLst>
          </p:cNvPr>
          <p:cNvGraphicFramePr>
            <a:graphicFrameLocks noChangeAspect="1"/>
          </p:cNvGraphicFramePr>
          <p:nvPr userDrawn="1">
            <p:custDataLst>
              <p:tags r:id="rId1"/>
            </p:custDataLst>
            <p:extLst>
              <p:ext uri="{D42A27DB-BD31-4B8C-83A1-F6EECF244321}">
                <p14:modId xmlns:p14="http://schemas.microsoft.com/office/powerpoint/2010/main" val="103560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0255BD6-25FE-0675-2CBE-47E317E0BA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Kombinationstegning: figur 9">
            <a:extLst>
              <a:ext uri="{FF2B5EF4-FFF2-40B4-BE49-F238E27FC236}">
                <a16:creationId xmlns:a16="http://schemas.microsoft.com/office/drawing/2014/main" id="{56280EED-93A1-77F9-A9D7-99BA516E874C}"/>
              </a:ext>
            </a:extLst>
          </p:cNvPr>
          <p:cNvSpPr>
            <a:spLocks noChangeAspect="1"/>
          </p:cNvSpPr>
          <p:nvPr/>
        </p:nvSpPr>
        <p:spPr>
          <a:xfrm>
            <a:off x="431800" y="0"/>
            <a:ext cx="1900800" cy="1306686"/>
          </a:xfrm>
          <a:custGeom>
            <a:avLst/>
            <a:gdLst>
              <a:gd name="connsiteX0" fmla="*/ 582083 w 2207683"/>
              <a:gd name="connsiteY0" fmla="*/ 0 h 1517650"/>
              <a:gd name="connsiteX1" fmla="*/ 1001183 w 2207683"/>
              <a:gd name="connsiteY1" fmla="*/ 0 h 1517650"/>
              <a:gd name="connsiteX2" fmla="*/ 753533 w 2207683"/>
              <a:gd name="connsiteY2" fmla="*/ 1517650 h 1517650"/>
              <a:gd name="connsiteX3" fmla="*/ 118533 w 2207683"/>
              <a:gd name="connsiteY3" fmla="*/ 1517650 h 1517650"/>
              <a:gd name="connsiteX4" fmla="*/ 23283 w 2207683"/>
              <a:gd name="connsiteY4" fmla="*/ 1339850 h 1517650"/>
              <a:gd name="connsiteX5" fmla="*/ 582083 w 2207683"/>
              <a:gd name="connsiteY5" fmla="*/ 0 h 1517650"/>
              <a:gd name="connsiteX6" fmla="*/ 1788583 w 2207683"/>
              <a:gd name="connsiteY6" fmla="*/ 0 h 1517650"/>
              <a:gd name="connsiteX7" fmla="*/ 2207683 w 2207683"/>
              <a:gd name="connsiteY7" fmla="*/ 0 h 1517650"/>
              <a:gd name="connsiteX8" fmla="*/ 1960033 w 2207683"/>
              <a:gd name="connsiteY8" fmla="*/ 1517650 h 1517650"/>
              <a:gd name="connsiteX9" fmla="*/ 1325033 w 2207683"/>
              <a:gd name="connsiteY9" fmla="*/ 1517650 h 1517650"/>
              <a:gd name="connsiteX10" fmla="*/ 1229783 w 2207683"/>
              <a:gd name="connsiteY10" fmla="*/ 1339850 h 1517650"/>
              <a:gd name="connsiteX11" fmla="*/ 1788583 w 2207683"/>
              <a:gd name="connsiteY11" fmla="*/ 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582083" y="0"/>
                </a:moveTo>
                <a:lnTo>
                  <a:pt x="1001183" y="0"/>
                </a:lnTo>
                <a:lnTo>
                  <a:pt x="753533" y="1517650"/>
                </a:lnTo>
                <a:lnTo>
                  <a:pt x="118533" y="1517650"/>
                </a:lnTo>
                <a:cubicBezTo>
                  <a:pt x="-8467" y="1517650"/>
                  <a:pt x="-21167" y="1447800"/>
                  <a:pt x="23283" y="1339850"/>
                </a:cubicBezTo>
                <a:lnTo>
                  <a:pt x="582083" y="0"/>
                </a:lnTo>
                <a:close/>
                <a:moveTo>
                  <a:pt x="1788583" y="0"/>
                </a:moveTo>
                <a:lnTo>
                  <a:pt x="2207683" y="0"/>
                </a:lnTo>
                <a:lnTo>
                  <a:pt x="1960033" y="1517650"/>
                </a:lnTo>
                <a:lnTo>
                  <a:pt x="1325033" y="1517650"/>
                </a:lnTo>
                <a:cubicBezTo>
                  <a:pt x="1198033" y="1517650"/>
                  <a:pt x="1185333" y="1447800"/>
                  <a:pt x="1229783" y="1339850"/>
                </a:cubicBezTo>
                <a:lnTo>
                  <a:pt x="1788583" y="0"/>
                </a:lnTo>
                <a:close/>
              </a:path>
            </a:pathLst>
          </a:custGeom>
          <a:solidFill>
            <a:srgbClr val="66F58A"/>
          </a:solidFill>
          <a:ln w="6350" cap="flat">
            <a:noFill/>
            <a:prstDash val="solid"/>
            <a:miter/>
          </a:ln>
        </p:spPr>
        <p:txBody>
          <a:bodyPr rtlCol="0" anchor="ctr"/>
          <a:lstStyle/>
          <a:p>
            <a:endParaRPr lang="en-GB"/>
          </a:p>
        </p:txBody>
      </p:sp>
      <p:sp>
        <p:nvSpPr>
          <p:cNvPr id="11" name="Kombinationstegning: figur 10">
            <a:extLst>
              <a:ext uri="{FF2B5EF4-FFF2-40B4-BE49-F238E27FC236}">
                <a16:creationId xmlns:a16="http://schemas.microsoft.com/office/drawing/2014/main" id="{57E36AE6-6B05-6B70-BA3E-561CBB7BAD17}"/>
              </a:ext>
            </a:extLst>
          </p:cNvPr>
          <p:cNvSpPr>
            <a:spLocks noChangeAspect="1"/>
          </p:cNvSpPr>
          <p:nvPr/>
        </p:nvSpPr>
        <p:spPr>
          <a:xfrm>
            <a:off x="9871075" y="5553599"/>
            <a:ext cx="1900800" cy="1306686"/>
          </a:xfrm>
          <a:custGeom>
            <a:avLst/>
            <a:gdLst>
              <a:gd name="connsiteX0" fmla="*/ 419100 w 2207683"/>
              <a:gd name="connsiteY0" fmla="*/ 1517650 h 1517650"/>
              <a:gd name="connsiteX1" fmla="*/ 0 w 2207683"/>
              <a:gd name="connsiteY1" fmla="*/ 1517650 h 1517650"/>
              <a:gd name="connsiteX2" fmla="*/ 247650 w 2207683"/>
              <a:gd name="connsiteY2" fmla="*/ 0 h 1517650"/>
              <a:gd name="connsiteX3" fmla="*/ 882650 w 2207683"/>
              <a:gd name="connsiteY3" fmla="*/ 0 h 1517650"/>
              <a:gd name="connsiteX4" fmla="*/ 977900 w 2207683"/>
              <a:gd name="connsiteY4" fmla="*/ 177800 h 1517650"/>
              <a:gd name="connsiteX5" fmla="*/ 419100 w 2207683"/>
              <a:gd name="connsiteY5" fmla="*/ 1517650 h 1517650"/>
              <a:gd name="connsiteX6" fmla="*/ 1625600 w 2207683"/>
              <a:gd name="connsiteY6" fmla="*/ 1517650 h 1517650"/>
              <a:gd name="connsiteX7" fmla="*/ 1206500 w 2207683"/>
              <a:gd name="connsiteY7" fmla="*/ 1517650 h 1517650"/>
              <a:gd name="connsiteX8" fmla="*/ 1454150 w 2207683"/>
              <a:gd name="connsiteY8" fmla="*/ 0 h 1517650"/>
              <a:gd name="connsiteX9" fmla="*/ 2089150 w 2207683"/>
              <a:gd name="connsiteY9" fmla="*/ 0 h 1517650"/>
              <a:gd name="connsiteX10" fmla="*/ 2184400 w 2207683"/>
              <a:gd name="connsiteY10" fmla="*/ 177800 h 1517650"/>
              <a:gd name="connsiteX11" fmla="*/ 1625600 w 2207683"/>
              <a:gd name="connsiteY11" fmla="*/ 1517650 h 151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7683" h="1517650">
                <a:moveTo>
                  <a:pt x="419100" y="1517650"/>
                </a:moveTo>
                <a:lnTo>
                  <a:pt x="0" y="1517650"/>
                </a:lnTo>
                <a:lnTo>
                  <a:pt x="247650" y="0"/>
                </a:lnTo>
                <a:lnTo>
                  <a:pt x="882650" y="0"/>
                </a:lnTo>
                <a:cubicBezTo>
                  <a:pt x="1009650" y="0"/>
                  <a:pt x="1022350" y="69850"/>
                  <a:pt x="977900" y="177800"/>
                </a:cubicBezTo>
                <a:lnTo>
                  <a:pt x="419100" y="1517650"/>
                </a:lnTo>
                <a:close/>
                <a:moveTo>
                  <a:pt x="1625600" y="1517650"/>
                </a:moveTo>
                <a:lnTo>
                  <a:pt x="1206500" y="1517650"/>
                </a:lnTo>
                <a:lnTo>
                  <a:pt x="1454150" y="0"/>
                </a:lnTo>
                <a:lnTo>
                  <a:pt x="2089150" y="0"/>
                </a:lnTo>
                <a:cubicBezTo>
                  <a:pt x="2216150" y="0"/>
                  <a:pt x="2228850" y="69850"/>
                  <a:pt x="2184400" y="177800"/>
                </a:cubicBezTo>
                <a:lnTo>
                  <a:pt x="1625600" y="1517650"/>
                </a:lnTo>
                <a:close/>
              </a:path>
            </a:pathLst>
          </a:custGeom>
          <a:solidFill>
            <a:srgbClr val="66F58A"/>
          </a:solidFill>
          <a:ln w="6350" cap="flat">
            <a:noFill/>
            <a:prstDash val="solid"/>
            <a:miter/>
          </a:ln>
        </p:spPr>
        <p:txBody>
          <a:bodyPr rtlCol="0" anchor="ctr"/>
          <a:lstStyle/>
          <a:p>
            <a:endParaRPr lang="en-GB">
              <a:solidFill>
                <a:schemeClr val="accent1"/>
              </a:solidFill>
            </a:endParaRPr>
          </a:p>
        </p:txBody>
      </p:sp>
      <p:pic>
        <p:nvPicPr>
          <p:cNvPr id="3" name="Graphic 5">
            <a:extLst>
              <a:ext uri="{FF2B5EF4-FFF2-40B4-BE49-F238E27FC236}">
                <a16:creationId xmlns:a16="http://schemas.microsoft.com/office/drawing/2014/main" id="{CD3F4DF6-1E96-E086-5E31-358D1B86B4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2" name="Title 1">
            <a:extLst>
              <a:ext uri="{FF2B5EF4-FFF2-40B4-BE49-F238E27FC236}">
                <a16:creationId xmlns:a16="http://schemas.microsoft.com/office/drawing/2014/main" id="{2CDCAAB6-6999-8BB9-B9EA-51F6D7622067}"/>
              </a:ext>
            </a:extLst>
          </p:cNvPr>
          <p:cNvSpPr>
            <a:spLocks noGrp="1"/>
          </p:cNvSpPr>
          <p:nvPr>
            <p:ph type="ctrTitle" hasCustomPrompt="1"/>
          </p:nvPr>
        </p:nvSpPr>
        <p:spPr>
          <a:xfrm>
            <a:off x="1375200" y="1925435"/>
            <a:ext cx="9440862" cy="3007130"/>
          </a:xfrm>
        </p:spPr>
        <p:txBody>
          <a:bodyPr vert="horz" anchor="ctr" anchorCtr="0">
            <a:noAutofit/>
          </a:bodyPr>
          <a:lstStyle>
            <a:lvl1pPr algn="ctr">
              <a:lnSpc>
                <a:spcPts val="5000"/>
              </a:lnSpc>
              <a:defRPr sz="4600">
                <a:solidFill>
                  <a:schemeClr val="bg1"/>
                </a:solidFill>
              </a:defRPr>
            </a:lvl1pPr>
          </a:lstStyle>
          <a:p>
            <a:r>
              <a:rPr lang="en-GB"/>
              <a:t>"Citat”</a:t>
            </a:r>
          </a:p>
        </p:txBody>
      </p:sp>
      <p:sp>
        <p:nvSpPr>
          <p:cNvPr id="14" name="Pladsholder til tekst 13">
            <a:extLst>
              <a:ext uri="{FF2B5EF4-FFF2-40B4-BE49-F238E27FC236}">
                <a16:creationId xmlns:a16="http://schemas.microsoft.com/office/drawing/2014/main" id="{68A13AFD-FEF2-49E8-C04E-C7AAC8330BD6}"/>
              </a:ext>
            </a:extLst>
          </p:cNvPr>
          <p:cNvSpPr>
            <a:spLocks noGrp="1"/>
          </p:cNvSpPr>
          <p:nvPr>
            <p:ph type="body" sz="quarter" idx="13" hasCustomPrompt="1"/>
          </p:nvPr>
        </p:nvSpPr>
        <p:spPr>
          <a:xfrm>
            <a:off x="1343025" y="5560421"/>
            <a:ext cx="9472613" cy="387350"/>
          </a:xfrm>
        </p:spPr>
        <p:txBody>
          <a:bodyPr/>
          <a:lstStyle>
            <a:lvl1pPr marL="0" indent="0" algn="ctr">
              <a:buNone/>
              <a:defRPr i="1">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err="1"/>
              <a:t>Navn</a:t>
            </a:r>
            <a:r>
              <a:rPr lang="en-GB"/>
              <a:t> </a:t>
            </a:r>
            <a:r>
              <a:rPr lang="en-GB" err="1"/>
              <a:t>på</a:t>
            </a:r>
            <a:r>
              <a:rPr lang="en-GB"/>
              <a:t> person, stilling</a:t>
            </a:r>
          </a:p>
        </p:txBody>
      </p:sp>
      <p:sp>
        <p:nvSpPr>
          <p:cNvPr id="2" name="Slide Number Placeholder 5">
            <a:extLst>
              <a:ext uri="{FF2B5EF4-FFF2-40B4-BE49-F238E27FC236}">
                <a16:creationId xmlns:a16="http://schemas.microsoft.com/office/drawing/2014/main" id="{C73B6F4A-142F-B89C-1226-5DB13F6FAF42}"/>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bg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3857681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kst Sto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41062-572A-D9DD-E27F-469CD0C7914D}"/>
              </a:ext>
            </a:extLst>
          </p:cNvPr>
          <p:cNvSpPr>
            <a:spLocks noGrp="1"/>
          </p:cNvSpPr>
          <p:nvPr>
            <p:ph type="ctrTitle" hasCustomPrompt="1"/>
          </p:nvPr>
        </p:nvSpPr>
        <p:spPr>
          <a:xfrm>
            <a:off x="431799" y="1152001"/>
            <a:ext cx="9440862" cy="4554000"/>
          </a:xfrm>
        </p:spPr>
        <p:txBody>
          <a:bodyPr anchor="ctr" anchorCtr="0">
            <a:noAutofit/>
          </a:bodyPr>
          <a:lstStyle>
            <a:lvl1pPr algn="l">
              <a:lnSpc>
                <a:spcPts val="4400"/>
              </a:lnSpc>
              <a:defRPr sz="3600"/>
            </a:lvl1pPr>
          </a:lstStyle>
          <a:p>
            <a:r>
              <a:rPr lang="en-GB" err="1">
                <a:solidFill>
                  <a:srgbClr val="121212"/>
                </a:solidFill>
                <a:effectLst/>
                <a:latin typeface="Eifont Display" pitchFamily="2" charset="77"/>
              </a:rPr>
              <a:t>Tekst</a:t>
            </a:r>
            <a:endParaRPr lang="en-GB">
              <a:solidFill>
                <a:srgbClr val="121212"/>
              </a:solidFill>
              <a:effectLst/>
              <a:latin typeface="Eifont Display" pitchFamily="2" charset="77"/>
            </a:endParaRPr>
          </a:p>
        </p:txBody>
      </p:sp>
      <p:pic>
        <p:nvPicPr>
          <p:cNvPr id="3" name="Graphic 5">
            <a:extLst>
              <a:ext uri="{FF2B5EF4-FFF2-40B4-BE49-F238E27FC236}">
                <a16:creationId xmlns:a16="http://schemas.microsoft.com/office/drawing/2014/main" id="{13DCB14B-5BBF-B445-EBCE-CBEF13C83B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6AE954D4-C10A-9F98-2DF2-BCBCBAD8AF7B}"/>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7953601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amp;S hvi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4559AF-9AC5-B015-6E3D-4F9873BC9F01}"/>
              </a:ext>
            </a:extLst>
          </p:cNvPr>
          <p:cNvGraphicFramePr>
            <a:graphicFrameLocks noChangeAspect="1"/>
          </p:cNvGraphicFramePr>
          <p:nvPr userDrawn="1">
            <p:custDataLst>
              <p:tags r:id="rId1"/>
            </p:custDataLst>
            <p:extLst>
              <p:ext uri="{D42A27DB-BD31-4B8C-83A1-F6EECF244321}">
                <p14:modId xmlns:p14="http://schemas.microsoft.com/office/powerpoint/2010/main" val="203545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74559AF-9AC5-B015-6E3D-4F9873BC9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8" y="431802"/>
            <a:ext cx="10383840" cy="966187"/>
          </a:xfrm>
        </p:spPr>
        <p:txBody>
          <a:bodyPr vert="horz" anchor="b"/>
          <a:lstStyle/>
          <a:p>
            <a:r>
              <a:rPr lang="en-GB" err="1"/>
              <a:t>Overskrift</a:t>
            </a:r>
            <a:br>
              <a:rPr lang="en-GB"/>
            </a:br>
            <a:r>
              <a:rPr lang="en-GB"/>
              <a:t>max 2 </a:t>
            </a:r>
            <a:r>
              <a:rPr lang="en-GB" err="1"/>
              <a:t>linjer</a:t>
            </a:r>
            <a:endParaRPr lang="en-GB"/>
          </a:p>
        </p:txBody>
      </p:sp>
      <p:sp>
        <p:nvSpPr>
          <p:cNvPr id="7" name="Pladsholder til tekst 6">
            <a:extLst>
              <a:ext uri="{FF2B5EF4-FFF2-40B4-BE49-F238E27FC236}">
                <a16:creationId xmlns:a16="http://schemas.microsoft.com/office/drawing/2014/main" id="{35EDC86F-D581-7216-A9B8-833E4F206725}"/>
              </a:ext>
            </a:extLst>
          </p:cNvPr>
          <p:cNvSpPr>
            <a:spLocks noGrp="1"/>
          </p:cNvSpPr>
          <p:nvPr>
            <p:ph type="body" sz="quarter" idx="14" hasCustomPrompt="1"/>
          </p:nvPr>
        </p:nvSpPr>
        <p:spPr>
          <a:xfrm>
            <a:off x="431798" y="1440001"/>
            <a:ext cx="10383839" cy="295494"/>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GB" err="1"/>
              <a:t>Underrubrik</a:t>
            </a:r>
            <a:endParaRPr lang="en-GB"/>
          </a:p>
        </p:txBody>
      </p:sp>
      <p:sp>
        <p:nvSpPr>
          <p:cNvPr id="3" name="Slide Number Placeholder 5">
            <a:extLst>
              <a:ext uri="{FF2B5EF4-FFF2-40B4-BE49-F238E27FC236}">
                <a16:creationId xmlns:a16="http://schemas.microsoft.com/office/drawing/2014/main" id="{BF09D65B-135B-8A55-4923-8D98178C6AA2}"/>
              </a:ext>
            </a:extLst>
          </p:cNvPr>
          <p:cNvSpPr>
            <a:spLocks noGrp="1"/>
          </p:cNvSpPr>
          <p:nvPr>
            <p:ph type="sldNum" sz="quarter" idx="4"/>
          </p:nvPr>
        </p:nvSpPr>
        <p:spPr>
          <a:xfrm>
            <a:off x="11249024" y="6461650"/>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pic>
        <p:nvPicPr>
          <p:cNvPr id="5" name="Graphic 5">
            <a:extLst>
              <a:ext uri="{FF2B5EF4-FFF2-40B4-BE49-F238E27FC236}">
                <a16:creationId xmlns:a16="http://schemas.microsoft.com/office/drawing/2014/main" id="{4196E146-4885-B858-08AA-5E82F37A16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24213" y="432000"/>
            <a:ext cx="734400" cy="378216"/>
          </a:xfrm>
          <a:prstGeom prst="rect">
            <a:avLst/>
          </a:prstGeom>
        </p:spPr>
      </p:pic>
      <p:sp>
        <p:nvSpPr>
          <p:cNvPr id="12" name="TextBox 11">
            <a:extLst>
              <a:ext uri="{FF2B5EF4-FFF2-40B4-BE49-F238E27FC236}">
                <a16:creationId xmlns:a16="http://schemas.microsoft.com/office/drawing/2014/main" id="{DD597904-8079-ED7A-5B37-1AA9128FC597}"/>
              </a:ext>
            </a:extLst>
          </p:cNvPr>
          <p:cNvSpPr txBox="1"/>
          <p:nvPr userDrawn="1"/>
        </p:nvSpPr>
        <p:spPr>
          <a:xfrm>
            <a:off x="431798" y="6519446"/>
            <a:ext cx="5664202" cy="338554"/>
          </a:xfrm>
          <a:prstGeom prst="rect">
            <a:avLst/>
          </a:prstGeom>
          <a:noFill/>
        </p:spPr>
        <p:txBody>
          <a:bodyPr wrap="square" lIns="0" rtlCol="0">
            <a:spAutoFit/>
          </a:bodyPr>
          <a:lstStyle/>
          <a:p>
            <a:r>
              <a:rPr lang="da-DK" sz="800"/>
              <a:t>Note:</a:t>
            </a:r>
          </a:p>
          <a:p>
            <a:r>
              <a:rPr lang="da-DK" sz="800"/>
              <a:t>Source: </a:t>
            </a:r>
          </a:p>
        </p:txBody>
      </p:sp>
    </p:spTree>
    <p:extLst>
      <p:ext uri="{BB962C8B-B14F-4D97-AF65-F5344CB8AC3E}">
        <p14:creationId xmlns:p14="http://schemas.microsoft.com/office/powerpoint/2010/main" val="4362856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ekst 2 Kolonner tekst / 4 number gri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33FFB37-073B-7316-450C-DBB23F6FB0CC}"/>
              </a:ext>
            </a:extLst>
          </p:cNvPr>
          <p:cNvSpPr>
            <a:spLocks noGrp="1"/>
          </p:cNvSpPr>
          <p:nvPr>
            <p:ph type="sldNum" sz="quarter" idx="12"/>
          </p:nvPr>
        </p:nvSpPr>
        <p:spPr/>
        <p:txBody>
          <a:bodyPr/>
          <a:lstStyle/>
          <a:p>
            <a:fld id="{FA9C6259-F55B-47A6-AB0B-9E9F0835A2F0}" type="slidenum">
              <a:rPr lang="en-GB" smtClean="0"/>
              <a:t>‹#›</a:t>
            </a:fld>
            <a:endParaRPr lang="en-GB"/>
          </a:p>
        </p:txBody>
      </p:sp>
      <p:sp>
        <p:nvSpPr>
          <p:cNvPr id="13" name="Text Placeholder 7">
            <a:extLst>
              <a:ext uri="{FF2B5EF4-FFF2-40B4-BE49-F238E27FC236}">
                <a16:creationId xmlns:a16="http://schemas.microsoft.com/office/drawing/2014/main" id="{E6D469DE-64A8-023E-7FE0-1B8E721777EA}"/>
              </a:ext>
            </a:extLst>
          </p:cNvPr>
          <p:cNvSpPr>
            <a:spLocks noGrp="1"/>
          </p:cNvSpPr>
          <p:nvPr>
            <p:ph type="body" sz="quarter" idx="17" hasCustomPrompt="1"/>
          </p:nvPr>
        </p:nvSpPr>
        <p:spPr>
          <a:xfrm>
            <a:off x="431799" y="2159999"/>
            <a:ext cx="5111750" cy="3531673"/>
          </a:xfrm>
        </p:spPr>
        <p:txBody>
          <a:bodyPr/>
          <a:lstStyle>
            <a:lvl1pPr marL="0" indent="0">
              <a:buFontTx/>
              <a:buNone/>
              <a:defRPr/>
            </a:lvl1pPr>
          </a:lstStyle>
          <a:p>
            <a:pPr lvl="0"/>
            <a:r>
              <a:rPr lang="en-GB" err="1"/>
              <a:t>Tekst</a:t>
            </a:r>
            <a:endParaRPr lang="en-GB"/>
          </a:p>
        </p:txBody>
      </p:sp>
      <p:sp>
        <p:nvSpPr>
          <p:cNvPr id="3" name="Title 1">
            <a:extLst>
              <a:ext uri="{FF2B5EF4-FFF2-40B4-BE49-F238E27FC236}">
                <a16:creationId xmlns:a16="http://schemas.microsoft.com/office/drawing/2014/main" id="{E357F614-E3AC-96A6-A61A-221A7FF12F0E}"/>
              </a:ext>
            </a:extLst>
          </p:cNvPr>
          <p:cNvSpPr>
            <a:spLocks noGrp="1"/>
          </p:cNvSpPr>
          <p:nvPr>
            <p:ph type="title" hasCustomPrompt="1"/>
          </p:nvPr>
        </p:nvSpPr>
        <p:spPr>
          <a:xfrm>
            <a:off x="431800" y="431802"/>
            <a:ext cx="5111750" cy="966187"/>
          </a:xfrm>
        </p:spPr>
        <p:txBody>
          <a:bodyPr anchor="b"/>
          <a:lstStyle/>
          <a:p>
            <a:r>
              <a:rPr lang="en-GB" err="1"/>
              <a:t>Overskrift</a:t>
            </a:r>
            <a:br>
              <a:rPr lang="en-GB"/>
            </a:br>
            <a:r>
              <a:rPr lang="en-GB"/>
              <a:t>max 2 </a:t>
            </a:r>
            <a:r>
              <a:rPr lang="en-GB" err="1"/>
              <a:t>linjer</a:t>
            </a:r>
            <a:endParaRPr lang="en-GB"/>
          </a:p>
        </p:txBody>
      </p:sp>
      <p:sp>
        <p:nvSpPr>
          <p:cNvPr id="2" name="Slide Number Placeholder 5">
            <a:extLst>
              <a:ext uri="{FF2B5EF4-FFF2-40B4-BE49-F238E27FC236}">
                <a16:creationId xmlns:a16="http://schemas.microsoft.com/office/drawing/2014/main" id="{23AF7E99-DC84-6BA6-AA66-69365E6DCDAE}"/>
              </a:ext>
            </a:extLst>
          </p:cNvPr>
          <p:cNvSpPr txBox="1">
            <a:spLocks/>
          </p:cNvSpPr>
          <p:nvPr/>
        </p:nvSpPr>
        <p:spPr>
          <a:xfrm>
            <a:off x="10810837" y="6064613"/>
            <a:ext cx="942976" cy="360000"/>
          </a:xfrm>
          <a:prstGeom prst="rect">
            <a:avLst/>
          </a:prstGeom>
        </p:spPr>
        <p:txBody>
          <a:bodyPr vert="horz" lIns="0" tIns="0" rIns="0" bIns="0" rtlCol="0" anchor="b" anchorCtr="0"/>
          <a:lstStyle>
            <a:defPPr>
              <a:defRPr lang="en-US"/>
            </a:defPPr>
            <a:lvl1pPr marL="0" algn="r" defTabSz="914400" rtl="0" eaLnBrk="1" latinLnBrk="0" hangingPunct="1">
              <a:defRPr sz="800" b="0" i="0" kern="1200">
                <a:solidFill>
                  <a:schemeClr val="tx1"/>
                </a:solidFill>
                <a:latin typeface="Eifon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S. </a:t>
            </a:r>
            <a:fld id="{E68BB47B-6AA6-7343-BE79-ECEFD83B2C88}" type="slidenum">
              <a:rPr lang="en-GB" smtClean="0">
                <a:solidFill>
                  <a:schemeClr val="bg1"/>
                </a:solidFill>
              </a:rPr>
              <a:pPr/>
              <a:t>‹#›</a:t>
            </a:fld>
            <a:endParaRPr lang="en-GB">
              <a:solidFill>
                <a:schemeClr val="bg1"/>
              </a:solidFill>
            </a:endParaRPr>
          </a:p>
        </p:txBody>
      </p:sp>
      <p:sp>
        <p:nvSpPr>
          <p:cNvPr id="5" name="Pladsholder til tekst 6">
            <a:extLst>
              <a:ext uri="{FF2B5EF4-FFF2-40B4-BE49-F238E27FC236}">
                <a16:creationId xmlns:a16="http://schemas.microsoft.com/office/drawing/2014/main" id="{2AC6E3B0-D659-6903-2ACA-A50090343DDA}"/>
              </a:ext>
            </a:extLst>
          </p:cNvPr>
          <p:cNvSpPr>
            <a:spLocks noGrp="1"/>
          </p:cNvSpPr>
          <p:nvPr>
            <p:ph type="body" sz="quarter" idx="18" hasCustomPrompt="1"/>
          </p:nvPr>
        </p:nvSpPr>
        <p:spPr>
          <a:xfrm>
            <a:off x="431800" y="1440000"/>
            <a:ext cx="51120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GB" err="1"/>
              <a:t>Underrubrik</a:t>
            </a:r>
            <a:endParaRPr lang="en-GB"/>
          </a:p>
        </p:txBody>
      </p:sp>
      <p:sp>
        <p:nvSpPr>
          <p:cNvPr id="4" name="Rektangel 3">
            <a:extLst>
              <a:ext uri="{FF2B5EF4-FFF2-40B4-BE49-F238E27FC236}">
                <a16:creationId xmlns:a16="http://schemas.microsoft.com/office/drawing/2014/main" id="{C42EF9C1-A859-529E-4547-A9C349244C8D}"/>
              </a:ext>
            </a:extLst>
          </p:cNvPr>
          <p:cNvSpPr/>
          <p:nvPr/>
        </p:nvSpPr>
        <p:spPr>
          <a:xfrm>
            <a:off x="9142674" y="0"/>
            <a:ext cx="3049200" cy="343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7">
            <a:extLst>
              <a:ext uri="{FF2B5EF4-FFF2-40B4-BE49-F238E27FC236}">
                <a16:creationId xmlns:a16="http://schemas.microsoft.com/office/drawing/2014/main" id="{0599BC2E-0D4D-F7F1-AC76-700DBECB33D7}"/>
              </a:ext>
            </a:extLst>
          </p:cNvPr>
          <p:cNvSpPr>
            <a:spLocks noGrp="1"/>
          </p:cNvSpPr>
          <p:nvPr>
            <p:ph type="body" sz="quarter" idx="21" hasCustomPrompt="1"/>
          </p:nvPr>
        </p:nvSpPr>
        <p:spPr>
          <a:xfrm>
            <a:off x="9322940" y="2088643"/>
            <a:ext cx="2688668" cy="1052441"/>
          </a:xfrm>
        </p:spPr>
        <p:txBody>
          <a:bodyPr/>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8" name="Pladsholder til tekst 8">
            <a:extLst>
              <a:ext uri="{FF2B5EF4-FFF2-40B4-BE49-F238E27FC236}">
                <a16:creationId xmlns:a16="http://schemas.microsoft.com/office/drawing/2014/main" id="{E11521DC-A973-34B6-14C4-291A6B557258}"/>
              </a:ext>
            </a:extLst>
          </p:cNvPr>
          <p:cNvSpPr>
            <a:spLocks noGrp="1"/>
          </p:cNvSpPr>
          <p:nvPr>
            <p:ph type="body" sz="quarter" idx="22" hasCustomPrompt="1"/>
          </p:nvPr>
        </p:nvSpPr>
        <p:spPr>
          <a:xfrm>
            <a:off x="9322941" y="1058138"/>
            <a:ext cx="2688667" cy="1002283"/>
          </a:xfrm>
        </p:spPr>
        <p:txBody>
          <a:bodyPr anchor="b"/>
          <a:lstStyle>
            <a:lvl1pPr marL="0" indent="0" algn="ctr">
              <a:buNone/>
              <a:defRPr sz="6000">
                <a:latin typeface="+mj-lt"/>
              </a:defRPr>
            </a:lvl1pPr>
          </a:lstStyle>
          <a:p>
            <a:pPr lvl="0"/>
            <a:r>
              <a:rPr lang="en-GB"/>
              <a:t>XX</a:t>
            </a:r>
          </a:p>
        </p:txBody>
      </p:sp>
      <p:sp>
        <p:nvSpPr>
          <p:cNvPr id="16" name="Text Placeholder 7">
            <a:extLst>
              <a:ext uri="{FF2B5EF4-FFF2-40B4-BE49-F238E27FC236}">
                <a16:creationId xmlns:a16="http://schemas.microsoft.com/office/drawing/2014/main" id="{C4EC31AB-FB97-23A4-67FA-DE7CF7816CE9}"/>
              </a:ext>
            </a:extLst>
          </p:cNvPr>
          <p:cNvSpPr>
            <a:spLocks noGrp="1"/>
          </p:cNvSpPr>
          <p:nvPr>
            <p:ph type="body" sz="quarter" idx="23" hasCustomPrompt="1"/>
          </p:nvPr>
        </p:nvSpPr>
        <p:spPr>
          <a:xfrm>
            <a:off x="9322940" y="5697"/>
            <a:ext cx="2688668" cy="1052441"/>
          </a:xfrm>
        </p:spPr>
        <p:txBody>
          <a:bodyPr anchor="b"/>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18" name="Rektangel 17">
            <a:extLst>
              <a:ext uri="{FF2B5EF4-FFF2-40B4-BE49-F238E27FC236}">
                <a16:creationId xmlns:a16="http://schemas.microsoft.com/office/drawing/2014/main" id="{1BC8AE65-A9EE-DA95-65D1-0732FDD1EED9}"/>
              </a:ext>
            </a:extLst>
          </p:cNvPr>
          <p:cNvSpPr/>
          <p:nvPr/>
        </p:nvSpPr>
        <p:spPr>
          <a:xfrm>
            <a:off x="6093223" y="0"/>
            <a:ext cx="3049200" cy="343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2984BA6F-64F6-C42F-5F6D-02A5FF7C96C9}"/>
              </a:ext>
            </a:extLst>
          </p:cNvPr>
          <p:cNvSpPr>
            <a:spLocks noGrp="1"/>
          </p:cNvSpPr>
          <p:nvPr>
            <p:ph type="body" sz="quarter" idx="24" hasCustomPrompt="1"/>
          </p:nvPr>
        </p:nvSpPr>
        <p:spPr>
          <a:xfrm>
            <a:off x="6273489" y="2088643"/>
            <a:ext cx="2688668" cy="1052441"/>
          </a:xfrm>
        </p:spPr>
        <p:txBody>
          <a:bodyPr/>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0" name="Pladsholder til tekst 8">
            <a:extLst>
              <a:ext uri="{FF2B5EF4-FFF2-40B4-BE49-F238E27FC236}">
                <a16:creationId xmlns:a16="http://schemas.microsoft.com/office/drawing/2014/main" id="{9CBC1C7D-3B5C-16E2-DB55-CF557654F165}"/>
              </a:ext>
            </a:extLst>
          </p:cNvPr>
          <p:cNvSpPr>
            <a:spLocks noGrp="1"/>
          </p:cNvSpPr>
          <p:nvPr>
            <p:ph type="body" sz="quarter" idx="25" hasCustomPrompt="1"/>
          </p:nvPr>
        </p:nvSpPr>
        <p:spPr>
          <a:xfrm>
            <a:off x="6273490" y="1058138"/>
            <a:ext cx="2688667" cy="1002283"/>
          </a:xfrm>
        </p:spPr>
        <p:txBody>
          <a:bodyPr anchor="b"/>
          <a:lstStyle>
            <a:lvl1pPr marL="0" indent="0" algn="ctr">
              <a:buNone/>
              <a:defRPr sz="6000">
                <a:latin typeface="+mj-lt"/>
              </a:defRPr>
            </a:lvl1pPr>
          </a:lstStyle>
          <a:p>
            <a:pPr lvl="0"/>
            <a:r>
              <a:rPr lang="en-GB"/>
              <a:t>XX</a:t>
            </a:r>
          </a:p>
        </p:txBody>
      </p:sp>
      <p:sp>
        <p:nvSpPr>
          <p:cNvPr id="21" name="Text Placeholder 7">
            <a:extLst>
              <a:ext uri="{FF2B5EF4-FFF2-40B4-BE49-F238E27FC236}">
                <a16:creationId xmlns:a16="http://schemas.microsoft.com/office/drawing/2014/main" id="{91EEAFB8-3C7A-832B-C209-5A658DCB518C}"/>
              </a:ext>
            </a:extLst>
          </p:cNvPr>
          <p:cNvSpPr>
            <a:spLocks noGrp="1"/>
          </p:cNvSpPr>
          <p:nvPr>
            <p:ph type="body" sz="quarter" idx="26" hasCustomPrompt="1"/>
          </p:nvPr>
        </p:nvSpPr>
        <p:spPr>
          <a:xfrm>
            <a:off x="6273489" y="5697"/>
            <a:ext cx="2688668" cy="1052441"/>
          </a:xfrm>
        </p:spPr>
        <p:txBody>
          <a:bodyPr anchor="b"/>
          <a:lstStyle>
            <a:lvl1pPr marL="17463" indent="0" algn="ctr">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2" name="Rektangel 21">
            <a:extLst>
              <a:ext uri="{FF2B5EF4-FFF2-40B4-BE49-F238E27FC236}">
                <a16:creationId xmlns:a16="http://schemas.microsoft.com/office/drawing/2014/main" id="{A4C9EBE4-8EFE-333E-2E22-B895A7D50447}"/>
              </a:ext>
            </a:extLst>
          </p:cNvPr>
          <p:cNvSpPr/>
          <p:nvPr/>
        </p:nvSpPr>
        <p:spPr>
          <a:xfrm>
            <a:off x="9142674" y="3421503"/>
            <a:ext cx="3049200" cy="3430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79F17B2C-BBA2-79E4-341D-A41178FB8CF4}"/>
              </a:ext>
            </a:extLst>
          </p:cNvPr>
          <p:cNvSpPr>
            <a:spLocks noGrp="1"/>
          </p:cNvSpPr>
          <p:nvPr>
            <p:ph type="body" sz="quarter" idx="27" hasCustomPrompt="1"/>
          </p:nvPr>
        </p:nvSpPr>
        <p:spPr>
          <a:xfrm>
            <a:off x="9322940" y="5510146"/>
            <a:ext cx="2688668" cy="1052441"/>
          </a:xfrm>
        </p:spPr>
        <p:txBody>
          <a:bodyPr/>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4" name="Pladsholder til tekst 8">
            <a:extLst>
              <a:ext uri="{FF2B5EF4-FFF2-40B4-BE49-F238E27FC236}">
                <a16:creationId xmlns:a16="http://schemas.microsoft.com/office/drawing/2014/main" id="{820120E0-5FA5-1258-67D1-8B59696835F1}"/>
              </a:ext>
            </a:extLst>
          </p:cNvPr>
          <p:cNvSpPr>
            <a:spLocks noGrp="1"/>
          </p:cNvSpPr>
          <p:nvPr>
            <p:ph type="body" sz="quarter" idx="28" hasCustomPrompt="1"/>
          </p:nvPr>
        </p:nvSpPr>
        <p:spPr>
          <a:xfrm>
            <a:off x="9322941" y="4479641"/>
            <a:ext cx="2688667" cy="1002283"/>
          </a:xfrm>
        </p:spPr>
        <p:txBody>
          <a:bodyPr anchor="b"/>
          <a:lstStyle>
            <a:lvl1pPr marL="0" indent="0" algn="ctr">
              <a:buNone/>
              <a:defRPr sz="6000">
                <a:solidFill>
                  <a:schemeClr val="bg1"/>
                </a:solidFill>
                <a:latin typeface="+mj-lt"/>
              </a:defRPr>
            </a:lvl1pPr>
          </a:lstStyle>
          <a:p>
            <a:pPr lvl="0"/>
            <a:r>
              <a:rPr lang="en-GB"/>
              <a:t>XX</a:t>
            </a:r>
          </a:p>
        </p:txBody>
      </p:sp>
      <p:sp>
        <p:nvSpPr>
          <p:cNvPr id="25" name="Text Placeholder 7">
            <a:extLst>
              <a:ext uri="{FF2B5EF4-FFF2-40B4-BE49-F238E27FC236}">
                <a16:creationId xmlns:a16="http://schemas.microsoft.com/office/drawing/2014/main" id="{CC8708C9-DB7F-7A22-789C-D386044F9659}"/>
              </a:ext>
            </a:extLst>
          </p:cNvPr>
          <p:cNvSpPr>
            <a:spLocks noGrp="1"/>
          </p:cNvSpPr>
          <p:nvPr>
            <p:ph type="body" sz="quarter" idx="29" hasCustomPrompt="1"/>
          </p:nvPr>
        </p:nvSpPr>
        <p:spPr>
          <a:xfrm>
            <a:off x="9322940" y="3427200"/>
            <a:ext cx="2688668" cy="1052441"/>
          </a:xfrm>
        </p:spPr>
        <p:txBody>
          <a:bodyPr anchor="b"/>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6" name="Rektangel 25">
            <a:extLst>
              <a:ext uri="{FF2B5EF4-FFF2-40B4-BE49-F238E27FC236}">
                <a16:creationId xmlns:a16="http://schemas.microsoft.com/office/drawing/2014/main" id="{E413C5A4-0E67-CBDD-7632-FFC24193A2B3}"/>
              </a:ext>
            </a:extLst>
          </p:cNvPr>
          <p:cNvSpPr/>
          <p:nvPr/>
        </p:nvSpPr>
        <p:spPr>
          <a:xfrm>
            <a:off x="6093223" y="3421503"/>
            <a:ext cx="3049200" cy="343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7">
            <a:extLst>
              <a:ext uri="{FF2B5EF4-FFF2-40B4-BE49-F238E27FC236}">
                <a16:creationId xmlns:a16="http://schemas.microsoft.com/office/drawing/2014/main" id="{0EC167B3-FBA3-B73A-4271-DF02F8255959}"/>
              </a:ext>
            </a:extLst>
          </p:cNvPr>
          <p:cNvSpPr>
            <a:spLocks noGrp="1"/>
          </p:cNvSpPr>
          <p:nvPr>
            <p:ph type="body" sz="quarter" idx="30" hasCustomPrompt="1"/>
          </p:nvPr>
        </p:nvSpPr>
        <p:spPr>
          <a:xfrm>
            <a:off x="6273489" y="5510146"/>
            <a:ext cx="2688668" cy="1052441"/>
          </a:xfrm>
        </p:spPr>
        <p:txBody>
          <a:bodyPr/>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8" name="Pladsholder til tekst 8">
            <a:extLst>
              <a:ext uri="{FF2B5EF4-FFF2-40B4-BE49-F238E27FC236}">
                <a16:creationId xmlns:a16="http://schemas.microsoft.com/office/drawing/2014/main" id="{E53FA8F2-AEC7-719A-EE1B-B6B4B5712034}"/>
              </a:ext>
            </a:extLst>
          </p:cNvPr>
          <p:cNvSpPr>
            <a:spLocks noGrp="1"/>
          </p:cNvSpPr>
          <p:nvPr>
            <p:ph type="body" sz="quarter" idx="31" hasCustomPrompt="1"/>
          </p:nvPr>
        </p:nvSpPr>
        <p:spPr>
          <a:xfrm>
            <a:off x="6273490" y="4479641"/>
            <a:ext cx="2688667" cy="1002283"/>
          </a:xfrm>
        </p:spPr>
        <p:txBody>
          <a:bodyPr anchor="b"/>
          <a:lstStyle>
            <a:lvl1pPr marL="0" indent="0" algn="ctr">
              <a:buNone/>
              <a:defRPr sz="6000">
                <a:solidFill>
                  <a:schemeClr val="bg1"/>
                </a:solidFill>
                <a:latin typeface="+mj-lt"/>
              </a:defRPr>
            </a:lvl1pPr>
          </a:lstStyle>
          <a:p>
            <a:pPr lvl="0"/>
            <a:r>
              <a:rPr lang="en-GB"/>
              <a:t>XX</a:t>
            </a:r>
          </a:p>
        </p:txBody>
      </p:sp>
      <p:sp>
        <p:nvSpPr>
          <p:cNvPr id="29" name="Text Placeholder 7">
            <a:extLst>
              <a:ext uri="{FF2B5EF4-FFF2-40B4-BE49-F238E27FC236}">
                <a16:creationId xmlns:a16="http://schemas.microsoft.com/office/drawing/2014/main" id="{33FC761C-702A-5F99-2C0E-0688ACAC245D}"/>
              </a:ext>
            </a:extLst>
          </p:cNvPr>
          <p:cNvSpPr>
            <a:spLocks noGrp="1"/>
          </p:cNvSpPr>
          <p:nvPr>
            <p:ph type="body" sz="quarter" idx="32" hasCustomPrompt="1"/>
          </p:nvPr>
        </p:nvSpPr>
        <p:spPr>
          <a:xfrm>
            <a:off x="6273489" y="3427200"/>
            <a:ext cx="2688668" cy="1052441"/>
          </a:xfrm>
        </p:spPr>
        <p:txBody>
          <a:bodyPr anchor="b"/>
          <a:lstStyle>
            <a:lvl1pPr marL="17463" indent="0" algn="ctr">
              <a:buFont typeface="Arial" panose="020B0604020202020204" pitchFamily="34" charset="0"/>
              <a:buNone/>
              <a:tabLst/>
              <a:defRPr>
                <a:solidFill>
                  <a:schemeClr val="bg1"/>
                </a:solidFill>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Tree>
    <p:extLst>
      <p:ext uri="{BB962C8B-B14F-4D97-AF65-F5344CB8AC3E}">
        <p14:creationId xmlns:p14="http://schemas.microsoft.com/office/powerpoint/2010/main" val="1040315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Nøgletal ">
    <p:bg>
      <p:bgPr>
        <a:solidFill>
          <a:schemeClr val="accent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818D63-1275-AB15-2EDA-52327E2643F9}"/>
              </a:ext>
            </a:extLst>
          </p:cNvPr>
          <p:cNvSpPr>
            <a:spLocks noGrp="1"/>
          </p:cNvSpPr>
          <p:nvPr>
            <p:ph type="body" sz="quarter" idx="13" hasCustomPrompt="1"/>
          </p:nvPr>
        </p:nvSpPr>
        <p:spPr>
          <a:xfrm>
            <a:off x="43180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pic>
        <p:nvPicPr>
          <p:cNvPr id="3" name="Graphic 5">
            <a:extLst>
              <a:ext uri="{FF2B5EF4-FFF2-40B4-BE49-F238E27FC236}">
                <a16:creationId xmlns:a16="http://schemas.microsoft.com/office/drawing/2014/main" id="{B13606F4-D625-B290-9AAE-4696309EDE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7" name="Pladsholder til tekst 6">
            <a:extLst>
              <a:ext uri="{FF2B5EF4-FFF2-40B4-BE49-F238E27FC236}">
                <a16:creationId xmlns:a16="http://schemas.microsoft.com/office/drawing/2014/main" id="{B4E932FC-23D2-1B53-CEA2-2AE59AE38DDF}"/>
              </a:ext>
            </a:extLst>
          </p:cNvPr>
          <p:cNvSpPr>
            <a:spLocks noGrp="1"/>
          </p:cNvSpPr>
          <p:nvPr>
            <p:ph type="body" sz="quarter" idx="19" hasCustomPrompt="1"/>
          </p:nvPr>
        </p:nvSpPr>
        <p:spPr>
          <a:xfrm>
            <a:off x="431800" y="1440000"/>
            <a:ext cx="56642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GB" err="1"/>
              <a:t>Underrubrik</a:t>
            </a:r>
            <a:endParaRPr lang="en-GB"/>
          </a:p>
        </p:txBody>
      </p:sp>
      <p:sp>
        <p:nvSpPr>
          <p:cNvPr id="5" name="Slide Number Placeholder 5">
            <a:extLst>
              <a:ext uri="{FF2B5EF4-FFF2-40B4-BE49-F238E27FC236}">
                <a16:creationId xmlns:a16="http://schemas.microsoft.com/office/drawing/2014/main" id="{9DBBCE32-7332-E7AB-98E1-F227FA9B539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
        <p:nvSpPr>
          <p:cNvPr id="9" name="Pladsholder til tekst 8">
            <a:extLst>
              <a:ext uri="{FF2B5EF4-FFF2-40B4-BE49-F238E27FC236}">
                <a16:creationId xmlns:a16="http://schemas.microsoft.com/office/drawing/2014/main" id="{D15C6651-C8FB-1708-E8A8-84DA9C21C476}"/>
              </a:ext>
            </a:extLst>
          </p:cNvPr>
          <p:cNvSpPr>
            <a:spLocks noGrp="1"/>
          </p:cNvSpPr>
          <p:nvPr>
            <p:ph type="body" sz="quarter" idx="20" hasCustomPrompt="1"/>
          </p:nvPr>
        </p:nvSpPr>
        <p:spPr>
          <a:xfrm>
            <a:off x="431800" y="1925775"/>
            <a:ext cx="2832099" cy="1002283"/>
          </a:xfrm>
        </p:spPr>
        <p:txBody>
          <a:bodyPr anchor="b"/>
          <a:lstStyle>
            <a:lvl1pPr marL="0" indent="0">
              <a:buNone/>
              <a:defRPr sz="6000">
                <a:latin typeface="+mj-lt"/>
              </a:defRPr>
            </a:lvl1pPr>
          </a:lstStyle>
          <a:p>
            <a:pPr lvl="0"/>
            <a:r>
              <a:rPr lang="en-GB"/>
              <a:t>XX</a:t>
            </a:r>
          </a:p>
        </p:txBody>
      </p:sp>
      <p:sp>
        <p:nvSpPr>
          <p:cNvPr id="10" name="Title 1">
            <a:extLst>
              <a:ext uri="{FF2B5EF4-FFF2-40B4-BE49-F238E27FC236}">
                <a16:creationId xmlns:a16="http://schemas.microsoft.com/office/drawing/2014/main" id="{1C4660C4-D770-12F5-F879-663148C9B149}"/>
              </a:ext>
            </a:extLst>
          </p:cNvPr>
          <p:cNvSpPr>
            <a:spLocks noGrp="1"/>
          </p:cNvSpPr>
          <p:nvPr>
            <p:ph type="title" hasCustomPrompt="1"/>
          </p:nvPr>
        </p:nvSpPr>
        <p:spPr>
          <a:xfrm>
            <a:off x="431800" y="431802"/>
            <a:ext cx="5664200" cy="966187"/>
          </a:xfrm>
        </p:spPr>
        <p:txBody>
          <a:bodyPr anchor="b"/>
          <a:lstStyle/>
          <a:p>
            <a:r>
              <a:rPr lang="en-GB" err="1"/>
              <a:t>Overskrift</a:t>
            </a:r>
            <a:br>
              <a:rPr lang="en-GB"/>
            </a:br>
            <a:r>
              <a:rPr lang="en-GB"/>
              <a:t>max 2 </a:t>
            </a:r>
            <a:r>
              <a:rPr lang="en-GB" err="1"/>
              <a:t>linjer</a:t>
            </a:r>
            <a:endParaRPr lang="en-GB"/>
          </a:p>
        </p:txBody>
      </p:sp>
      <p:sp>
        <p:nvSpPr>
          <p:cNvPr id="13" name="Text Placeholder 7">
            <a:extLst>
              <a:ext uri="{FF2B5EF4-FFF2-40B4-BE49-F238E27FC236}">
                <a16:creationId xmlns:a16="http://schemas.microsoft.com/office/drawing/2014/main" id="{635DB809-1613-1F0C-742B-51ADEB2C1D3C}"/>
              </a:ext>
            </a:extLst>
          </p:cNvPr>
          <p:cNvSpPr>
            <a:spLocks noGrp="1"/>
          </p:cNvSpPr>
          <p:nvPr>
            <p:ph type="body" sz="quarter" idx="21" hasCustomPrompt="1"/>
          </p:nvPr>
        </p:nvSpPr>
        <p:spPr>
          <a:xfrm>
            <a:off x="4206875"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14" name="Pladsholder til tekst 8">
            <a:extLst>
              <a:ext uri="{FF2B5EF4-FFF2-40B4-BE49-F238E27FC236}">
                <a16:creationId xmlns:a16="http://schemas.microsoft.com/office/drawing/2014/main" id="{7D659B1C-27C9-10BB-8B95-8CC192CFCAFD}"/>
              </a:ext>
            </a:extLst>
          </p:cNvPr>
          <p:cNvSpPr>
            <a:spLocks noGrp="1"/>
          </p:cNvSpPr>
          <p:nvPr>
            <p:ph type="body" sz="quarter" idx="22" hasCustomPrompt="1"/>
          </p:nvPr>
        </p:nvSpPr>
        <p:spPr>
          <a:xfrm>
            <a:off x="4206875" y="1925775"/>
            <a:ext cx="2832099" cy="1002283"/>
          </a:xfrm>
        </p:spPr>
        <p:txBody>
          <a:bodyPr anchor="b"/>
          <a:lstStyle>
            <a:lvl1pPr marL="0" indent="0">
              <a:buNone/>
              <a:defRPr sz="6000">
                <a:latin typeface="+mj-lt"/>
              </a:defRPr>
            </a:lvl1pPr>
          </a:lstStyle>
          <a:p>
            <a:pPr lvl="0"/>
            <a:r>
              <a:rPr lang="en-GB"/>
              <a:t>XX</a:t>
            </a:r>
          </a:p>
        </p:txBody>
      </p:sp>
      <p:sp>
        <p:nvSpPr>
          <p:cNvPr id="25" name="Text Placeholder 7">
            <a:extLst>
              <a:ext uri="{FF2B5EF4-FFF2-40B4-BE49-F238E27FC236}">
                <a16:creationId xmlns:a16="http://schemas.microsoft.com/office/drawing/2014/main" id="{E2FE5068-6DDC-B945-0CD0-F155FA45D835}"/>
              </a:ext>
            </a:extLst>
          </p:cNvPr>
          <p:cNvSpPr>
            <a:spLocks noGrp="1"/>
          </p:cNvSpPr>
          <p:nvPr>
            <p:ph type="body" sz="quarter" idx="23" hasCustomPrompt="1"/>
          </p:nvPr>
        </p:nvSpPr>
        <p:spPr>
          <a:xfrm>
            <a:off x="798195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6" name="Pladsholder til tekst 8">
            <a:extLst>
              <a:ext uri="{FF2B5EF4-FFF2-40B4-BE49-F238E27FC236}">
                <a16:creationId xmlns:a16="http://schemas.microsoft.com/office/drawing/2014/main" id="{C471DAC7-59AF-6F39-CB54-61CB64E0A6C2}"/>
              </a:ext>
            </a:extLst>
          </p:cNvPr>
          <p:cNvSpPr>
            <a:spLocks noGrp="1"/>
          </p:cNvSpPr>
          <p:nvPr>
            <p:ph type="body" sz="quarter" idx="24" hasCustomPrompt="1"/>
          </p:nvPr>
        </p:nvSpPr>
        <p:spPr>
          <a:xfrm>
            <a:off x="7981950" y="1925775"/>
            <a:ext cx="2832099" cy="1002283"/>
          </a:xfrm>
        </p:spPr>
        <p:txBody>
          <a:bodyPr anchor="b"/>
          <a:lstStyle>
            <a:lvl1pPr marL="0" indent="0">
              <a:buNone/>
              <a:defRPr sz="6000">
                <a:latin typeface="+mj-lt"/>
              </a:defRPr>
            </a:lvl1pPr>
          </a:lstStyle>
          <a:p>
            <a:pPr lvl="0"/>
            <a:r>
              <a:rPr lang="en-GB"/>
              <a:t>XX</a:t>
            </a:r>
          </a:p>
        </p:txBody>
      </p:sp>
      <p:sp>
        <p:nvSpPr>
          <p:cNvPr id="27" name="Text Placeholder 7">
            <a:extLst>
              <a:ext uri="{FF2B5EF4-FFF2-40B4-BE49-F238E27FC236}">
                <a16:creationId xmlns:a16="http://schemas.microsoft.com/office/drawing/2014/main" id="{97F247A6-7DED-E505-B869-AC92A8A74831}"/>
              </a:ext>
            </a:extLst>
          </p:cNvPr>
          <p:cNvSpPr>
            <a:spLocks noGrp="1"/>
          </p:cNvSpPr>
          <p:nvPr>
            <p:ph type="body" sz="quarter" idx="25" hasCustomPrompt="1"/>
          </p:nvPr>
        </p:nvSpPr>
        <p:spPr>
          <a:xfrm>
            <a:off x="43180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8" name="Pladsholder til tekst 8">
            <a:extLst>
              <a:ext uri="{FF2B5EF4-FFF2-40B4-BE49-F238E27FC236}">
                <a16:creationId xmlns:a16="http://schemas.microsoft.com/office/drawing/2014/main" id="{9425C97C-A484-142E-136E-674675ADDCF9}"/>
              </a:ext>
            </a:extLst>
          </p:cNvPr>
          <p:cNvSpPr>
            <a:spLocks noGrp="1"/>
          </p:cNvSpPr>
          <p:nvPr>
            <p:ph type="body" sz="quarter" idx="26" hasCustomPrompt="1"/>
          </p:nvPr>
        </p:nvSpPr>
        <p:spPr>
          <a:xfrm>
            <a:off x="431800" y="4288831"/>
            <a:ext cx="2832099" cy="1002283"/>
          </a:xfrm>
        </p:spPr>
        <p:txBody>
          <a:bodyPr anchor="b"/>
          <a:lstStyle>
            <a:lvl1pPr marL="0" indent="0">
              <a:buNone/>
              <a:defRPr sz="6000">
                <a:latin typeface="+mj-lt"/>
              </a:defRPr>
            </a:lvl1pPr>
          </a:lstStyle>
          <a:p>
            <a:pPr lvl="0"/>
            <a:r>
              <a:rPr lang="en-GB"/>
              <a:t>XX</a:t>
            </a:r>
          </a:p>
        </p:txBody>
      </p:sp>
      <p:sp>
        <p:nvSpPr>
          <p:cNvPr id="29" name="Text Placeholder 7">
            <a:extLst>
              <a:ext uri="{FF2B5EF4-FFF2-40B4-BE49-F238E27FC236}">
                <a16:creationId xmlns:a16="http://schemas.microsoft.com/office/drawing/2014/main" id="{CAA65BD1-7CC7-879D-8731-AC4389F1FEDC}"/>
              </a:ext>
            </a:extLst>
          </p:cNvPr>
          <p:cNvSpPr>
            <a:spLocks noGrp="1"/>
          </p:cNvSpPr>
          <p:nvPr>
            <p:ph type="body" sz="quarter" idx="27" hasCustomPrompt="1"/>
          </p:nvPr>
        </p:nvSpPr>
        <p:spPr>
          <a:xfrm>
            <a:off x="4206875"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30" name="Pladsholder til tekst 8">
            <a:extLst>
              <a:ext uri="{FF2B5EF4-FFF2-40B4-BE49-F238E27FC236}">
                <a16:creationId xmlns:a16="http://schemas.microsoft.com/office/drawing/2014/main" id="{33543054-A243-5685-7358-3E878893F57F}"/>
              </a:ext>
            </a:extLst>
          </p:cNvPr>
          <p:cNvSpPr>
            <a:spLocks noGrp="1"/>
          </p:cNvSpPr>
          <p:nvPr>
            <p:ph type="body" sz="quarter" idx="28" hasCustomPrompt="1"/>
          </p:nvPr>
        </p:nvSpPr>
        <p:spPr>
          <a:xfrm>
            <a:off x="4206875" y="4288831"/>
            <a:ext cx="2832099" cy="1002283"/>
          </a:xfrm>
        </p:spPr>
        <p:txBody>
          <a:bodyPr anchor="b"/>
          <a:lstStyle>
            <a:lvl1pPr marL="0" indent="0">
              <a:buNone/>
              <a:defRPr sz="6000">
                <a:latin typeface="+mj-lt"/>
              </a:defRPr>
            </a:lvl1pPr>
          </a:lstStyle>
          <a:p>
            <a:pPr lvl="0"/>
            <a:r>
              <a:rPr lang="en-GB"/>
              <a:t>XX</a:t>
            </a:r>
          </a:p>
        </p:txBody>
      </p:sp>
      <p:sp>
        <p:nvSpPr>
          <p:cNvPr id="31" name="Text Placeholder 7">
            <a:extLst>
              <a:ext uri="{FF2B5EF4-FFF2-40B4-BE49-F238E27FC236}">
                <a16:creationId xmlns:a16="http://schemas.microsoft.com/office/drawing/2014/main" id="{1845E586-BA03-C255-AD7C-E2B4E2F2926C}"/>
              </a:ext>
            </a:extLst>
          </p:cNvPr>
          <p:cNvSpPr>
            <a:spLocks noGrp="1"/>
          </p:cNvSpPr>
          <p:nvPr>
            <p:ph type="body" sz="quarter" idx="29" hasCustomPrompt="1"/>
          </p:nvPr>
        </p:nvSpPr>
        <p:spPr>
          <a:xfrm>
            <a:off x="798195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32" name="Pladsholder til tekst 8">
            <a:extLst>
              <a:ext uri="{FF2B5EF4-FFF2-40B4-BE49-F238E27FC236}">
                <a16:creationId xmlns:a16="http://schemas.microsoft.com/office/drawing/2014/main" id="{26421C3B-18E1-ECB0-AD87-949AA8673C2A}"/>
              </a:ext>
            </a:extLst>
          </p:cNvPr>
          <p:cNvSpPr>
            <a:spLocks noGrp="1"/>
          </p:cNvSpPr>
          <p:nvPr>
            <p:ph type="body" sz="quarter" idx="30" hasCustomPrompt="1"/>
          </p:nvPr>
        </p:nvSpPr>
        <p:spPr>
          <a:xfrm>
            <a:off x="7981950" y="4288831"/>
            <a:ext cx="2832099" cy="1002283"/>
          </a:xfrm>
        </p:spPr>
        <p:txBody>
          <a:bodyPr anchor="b"/>
          <a:lstStyle>
            <a:lvl1pPr marL="0" indent="0">
              <a:buNone/>
              <a:defRPr sz="6000">
                <a:latin typeface="+mj-lt"/>
              </a:defRPr>
            </a:lvl1pPr>
          </a:lstStyle>
          <a:p>
            <a:pPr lvl="0"/>
            <a:r>
              <a:rPr lang="en-GB"/>
              <a:t>XX</a:t>
            </a:r>
          </a:p>
        </p:txBody>
      </p:sp>
    </p:spTree>
    <p:extLst>
      <p:ext uri="{BB962C8B-B14F-4D97-AF65-F5344CB8AC3E}">
        <p14:creationId xmlns:p14="http://schemas.microsoft.com/office/powerpoint/2010/main" val="17819918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Nøgletal ">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818D63-1275-AB15-2EDA-52327E2643F9}"/>
              </a:ext>
            </a:extLst>
          </p:cNvPr>
          <p:cNvSpPr>
            <a:spLocks noGrp="1"/>
          </p:cNvSpPr>
          <p:nvPr>
            <p:ph type="body" sz="quarter" idx="13" hasCustomPrompt="1"/>
          </p:nvPr>
        </p:nvSpPr>
        <p:spPr>
          <a:xfrm>
            <a:off x="43180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pic>
        <p:nvPicPr>
          <p:cNvPr id="3" name="Graphic 5">
            <a:extLst>
              <a:ext uri="{FF2B5EF4-FFF2-40B4-BE49-F238E27FC236}">
                <a16:creationId xmlns:a16="http://schemas.microsoft.com/office/drawing/2014/main" id="{B13606F4-D625-B290-9AAE-4696309EDE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7" name="Pladsholder til tekst 6">
            <a:extLst>
              <a:ext uri="{FF2B5EF4-FFF2-40B4-BE49-F238E27FC236}">
                <a16:creationId xmlns:a16="http://schemas.microsoft.com/office/drawing/2014/main" id="{B4E932FC-23D2-1B53-CEA2-2AE59AE38DDF}"/>
              </a:ext>
            </a:extLst>
          </p:cNvPr>
          <p:cNvSpPr>
            <a:spLocks noGrp="1"/>
          </p:cNvSpPr>
          <p:nvPr>
            <p:ph type="body" sz="quarter" idx="19" hasCustomPrompt="1"/>
          </p:nvPr>
        </p:nvSpPr>
        <p:spPr>
          <a:xfrm>
            <a:off x="431800" y="1440000"/>
            <a:ext cx="5664200" cy="485775"/>
          </a:xfrm>
        </p:spPr>
        <p:txBody>
          <a:bodyPr/>
          <a:lstStyle>
            <a:lvl1pPr marL="0" indent="0">
              <a:lnSpc>
                <a:spcPct val="100000"/>
              </a:lnSpc>
              <a:buNone/>
              <a:defRPr/>
            </a:lvl1p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GB" err="1"/>
              <a:t>Underrubrik</a:t>
            </a:r>
            <a:endParaRPr lang="en-GB"/>
          </a:p>
        </p:txBody>
      </p:sp>
      <p:sp>
        <p:nvSpPr>
          <p:cNvPr id="5" name="Slide Number Placeholder 5">
            <a:extLst>
              <a:ext uri="{FF2B5EF4-FFF2-40B4-BE49-F238E27FC236}">
                <a16:creationId xmlns:a16="http://schemas.microsoft.com/office/drawing/2014/main" id="{9DBBCE32-7332-E7AB-98E1-F227FA9B539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
        <p:nvSpPr>
          <p:cNvPr id="9" name="Pladsholder til tekst 8">
            <a:extLst>
              <a:ext uri="{FF2B5EF4-FFF2-40B4-BE49-F238E27FC236}">
                <a16:creationId xmlns:a16="http://schemas.microsoft.com/office/drawing/2014/main" id="{D15C6651-C8FB-1708-E8A8-84DA9C21C476}"/>
              </a:ext>
            </a:extLst>
          </p:cNvPr>
          <p:cNvSpPr>
            <a:spLocks noGrp="1"/>
          </p:cNvSpPr>
          <p:nvPr>
            <p:ph type="body" sz="quarter" idx="20" hasCustomPrompt="1"/>
          </p:nvPr>
        </p:nvSpPr>
        <p:spPr>
          <a:xfrm>
            <a:off x="431800" y="1925775"/>
            <a:ext cx="2832099" cy="1002283"/>
          </a:xfrm>
        </p:spPr>
        <p:txBody>
          <a:bodyPr anchor="b"/>
          <a:lstStyle>
            <a:lvl1pPr marL="0" indent="0">
              <a:buNone/>
              <a:defRPr sz="6000">
                <a:latin typeface="+mj-lt"/>
              </a:defRPr>
            </a:lvl1pPr>
          </a:lstStyle>
          <a:p>
            <a:pPr lvl="0"/>
            <a:r>
              <a:rPr lang="en-GB"/>
              <a:t>XX</a:t>
            </a:r>
          </a:p>
        </p:txBody>
      </p:sp>
      <p:sp>
        <p:nvSpPr>
          <p:cNvPr id="10" name="Title 1">
            <a:extLst>
              <a:ext uri="{FF2B5EF4-FFF2-40B4-BE49-F238E27FC236}">
                <a16:creationId xmlns:a16="http://schemas.microsoft.com/office/drawing/2014/main" id="{1C4660C4-D770-12F5-F879-663148C9B149}"/>
              </a:ext>
            </a:extLst>
          </p:cNvPr>
          <p:cNvSpPr>
            <a:spLocks noGrp="1"/>
          </p:cNvSpPr>
          <p:nvPr>
            <p:ph type="title" hasCustomPrompt="1"/>
          </p:nvPr>
        </p:nvSpPr>
        <p:spPr>
          <a:xfrm>
            <a:off x="431800" y="431802"/>
            <a:ext cx="5664200" cy="966187"/>
          </a:xfrm>
        </p:spPr>
        <p:txBody>
          <a:bodyPr anchor="b"/>
          <a:lstStyle/>
          <a:p>
            <a:r>
              <a:rPr lang="en-GB" err="1"/>
              <a:t>Overskrift</a:t>
            </a:r>
            <a:br>
              <a:rPr lang="en-GB"/>
            </a:br>
            <a:r>
              <a:rPr lang="en-GB"/>
              <a:t>max 2 </a:t>
            </a:r>
            <a:r>
              <a:rPr lang="en-GB" err="1"/>
              <a:t>linjer</a:t>
            </a:r>
            <a:endParaRPr lang="en-GB"/>
          </a:p>
        </p:txBody>
      </p:sp>
      <p:sp>
        <p:nvSpPr>
          <p:cNvPr id="13" name="Text Placeholder 7">
            <a:extLst>
              <a:ext uri="{FF2B5EF4-FFF2-40B4-BE49-F238E27FC236}">
                <a16:creationId xmlns:a16="http://schemas.microsoft.com/office/drawing/2014/main" id="{635DB809-1613-1F0C-742B-51ADEB2C1D3C}"/>
              </a:ext>
            </a:extLst>
          </p:cNvPr>
          <p:cNvSpPr>
            <a:spLocks noGrp="1"/>
          </p:cNvSpPr>
          <p:nvPr>
            <p:ph type="body" sz="quarter" idx="21" hasCustomPrompt="1"/>
          </p:nvPr>
        </p:nvSpPr>
        <p:spPr>
          <a:xfrm>
            <a:off x="4206875"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14" name="Pladsholder til tekst 8">
            <a:extLst>
              <a:ext uri="{FF2B5EF4-FFF2-40B4-BE49-F238E27FC236}">
                <a16:creationId xmlns:a16="http://schemas.microsoft.com/office/drawing/2014/main" id="{7D659B1C-27C9-10BB-8B95-8CC192CFCAFD}"/>
              </a:ext>
            </a:extLst>
          </p:cNvPr>
          <p:cNvSpPr>
            <a:spLocks noGrp="1"/>
          </p:cNvSpPr>
          <p:nvPr>
            <p:ph type="body" sz="quarter" idx="22" hasCustomPrompt="1"/>
          </p:nvPr>
        </p:nvSpPr>
        <p:spPr>
          <a:xfrm>
            <a:off x="4206875" y="1925775"/>
            <a:ext cx="2832099" cy="1002283"/>
          </a:xfrm>
        </p:spPr>
        <p:txBody>
          <a:bodyPr anchor="b"/>
          <a:lstStyle>
            <a:lvl1pPr marL="0" indent="0">
              <a:buNone/>
              <a:defRPr sz="6000">
                <a:latin typeface="+mj-lt"/>
              </a:defRPr>
            </a:lvl1pPr>
          </a:lstStyle>
          <a:p>
            <a:pPr lvl="0"/>
            <a:r>
              <a:rPr lang="en-GB"/>
              <a:t>XX</a:t>
            </a:r>
          </a:p>
        </p:txBody>
      </p:sp>
      <p:sp>
        <p:nvSpPr>
          <p:cNvPr id="25" name="Text Placeholder 7">
            <a:extLst>
              <a:ext uri="{FF2B5EF4-FFF2-40B4-BE49-F238E27FC236}">
                <a16:creationId xmlns:a16="http://schemas.microsoft.com/office/drawing/2014/main" id="{E2FE5068-6DDC-B945-0CD0-F155FA45D835}"/>
              </a:ext>
            </a:extLst>
          </p:cNvPr>
          <p:cNvSpPr>
            <a:spLocks noGrp="1"/>
          </p:cNvSpPr>
          <p:nvPr>
            <p:ph type="body" sz="quarter" idx="23" hasCustomPrompt="1"/>
          </p:nvPr>
        </p:nvSpPr>
        <p:spPr>
          <a:xfrm>
            <a:off x="7981950" y="2956280"/>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6" name="Pladsholder til tekst 8">
            <a:extLst>
              <a:ext uri="{FF2B5EF4-FFF2-40B4-BE49-F238E27FC236}">
                <a16:creationId xmlns:a16="http://schemas.microsoft.com/office/drawing/2014/main" id="{C471DAC7-59AF-6F39-CB54-61CB64E0A6C2}"/>
              </a:ext>
            </a:extLst>
          </p:cNvPr>
          <p:cNvSpPr>
            <a:spLocks noGrp="1"/>
          </p:cNvSpPr>
          <p:nvPr>
            <p:ph type="body" sz="quarter" idx="24" hasCustomPrompt="1"/>
          </p:nvPr>
        </p:nvSpPr>
        <p:spPr>
          <a:xfrm>
            <a:off x="7981950" y="1925775"/>
            <a:ext cx="2832099" cy="1002283"/>
          </a:xfrm>
        </p:spPr>
        <p:txBody>
          <a:bodyPr anchor="b"/>
          <a:lstStyle>
            <a:lvl1pPr marL="0" indent="0">
              <a:buNone/>
              <a:defRPr sz="6000">
                <a:latin typeface="+mj-lt"/>
              </a:defRPr>
            </a:lvl1pPr>
          </a:lstStyle>
          <a:p>
            <a:pPr lvl="0"/>
            <a:r>
              <a:rPr lang="en-GB"/>
              <a:t>XX</a:t>
            </a:r>
          </a:p>
        </p:txBody>
      </p:sp>
      <p:sp>
        <p:nvSpPr>
          <p:cNvPr id="27" name="Text Placeholder 7">
            <a:extLst>
              <a:ext uri="{FF2B5EF4-FFF2-40B4-BE49-F238E27FC236}">
                <a16:creationId xmlns:a16="http://schemas.microsoft.com/office/drawing/2014/main" id="{97F247A6-7DED-E505-B869-AC92A8A74831}"/>
              </a:ext>
            </a:extLst>
          </p:cNvPr>
          <p:cNvSpPr>
            <a:spLocks noGrp="1"/>
          </p:cNvSpPr>
          <p:nvPr>
            <p:ph type="body" sz="quarter" idx="25" hasCustomPrompt="1"/>
          </p:nvPr>
        </p:nvSpPr>
        <p:spPr>
          <a:xfrm>
            <a:off x="43180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28" name="Pladsholder til tekst 8">
            <a:extLst>
              <a:ext uri="{FF2B5EF4-FFF2-40B4-BE49-F238E27FC236}">
                <a16:creationId xmlns:a16="http://schemas.microsoft.com/office/drawing/2014/main" id="{9425C97C-A484-142E-136E-674675ADDCF9}"/>
              </a:ext>
            </a:extLst>
          </p:cNvPr>
          <p:cNvSpPr>
            <a:spLocks noGrp="1"/>
          </p:cNvSpPr>
          <p:nvPr>
            <p:ph type="body" sz="quarter" idx="26" hasCustomPrompt="1"/>
          </p:nvPr>
        </p:nvSpPr>
        <p:spPr>
          <a:xfrm>
            <a:off x="431800" y="4288831"/>
            <a:ext cx="2832099" cy="1002283"/>
          </a:xfrm>
        </p:spPr>
        <p:txBody>
          <a:bodyPr anchor="b"/>
          <a:lstStyle>
            <a:lvl1pPr marL="0" indent="0">
              <a:buNone/>
              <a:defRPr sz="6000">
                <a:latin typeface="+mj-lt"/>
              </a:defRPr>
            </a:lvl1pPr>
          </a:lstStyle>
          <a:p>
            <a:pPr lvl="0"/>
            <a:r>
              <a:rPr lang="en-GB"/>
              <a:t>XX</a:t>
            </a:r>
          </a:p>
        </p:txBody>
      </p:sp>
      <p:sp>
        <p:nvSpPr>
          <p:cNvPr id="29" name="Text Placeholder 7">
            <a:extLst>
              <a:ext uri="{FF2B5EF4-FFF2-40B4-BE49-F238E27FC236}">
                <a16:creationId xmlns:a16="http://schemas.microsoft.com/office/drawing/2014/main" id="{CAA65BD1-7CC7-879D-8731-AC4389F1FEDC}"/>
              </a:ext>
            </a:extLst>
          </p:cNvPr>
          <p:cNvSpPr>
            <a:spLocks noGrp="1"/>
          </p:cNvSpPr>
          <p:nvPr>
            <p:ph type="body" sz="quarter" idx="27" hasCustomPrompt="1"/>
          </p:nvPr>
        </p:nvSpPr>
        <p:spPr>
          <a:xfrm>
            <a:off x="4206875"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30" name="Pladsholder til tekst 8">
            <a:extLst>
              <a:ext uri="{FF2B5EF4-FFF2-40B4-BE49-F238E27FC236}">
                <a16:creationId xmlns:a16="http://schemas.microsoft.com/office/drawing/2014/main" id="{33543054-A243-5685-7358-3E878893F57F}"/>
              </a:ext>
            </a:extLst>
          </p:cNvPr>
          <p:cNvSpPr>
            <a:spLocks noGrp="1"/>
          </p:cNvSpPr>
          <p:nvPr>
            <p:ph type="body" sz="quarter" idx="28" hasCustomPrompt="1"/>
          </p:nvPr>
        </p:nvSpPr>
        <p:spPr>
          <a:xfrm>
            <a:off x="4206875" y="4288831"/>
            <a:ext cx="2832099" cy="1002283"/>
          </a:xfrm>
        </p:spPr>
        <p:txBody>
          <a:bodyPr anchor="b"/>
          <a:lstStyle>
            <a:lvl1pPr marL="0" indent="0">
              <a:buNone/>
              <a:defRPr sz="6000">
                <a:latin typeface="+mj-lt"/>
              </a:defRPr>
            </a:lvl1pPr>
          </a:lstStyle>
          <a:p>
            <a:pPr lvl="0"/>
            <a:r>
              <a:rPr lang="en-GB"/>
              <a:t>XX</a:t>
            </a:r>
          </a:p>
        </p:txBody>
      </p:sp>
      <p:sp>
        <p:nvSpPr>
          <p:cNvPr id="31" name="Text Placeholder 7">
            <a:extLst>
              <a:ext uri="{FF2B5EF4-FFF2-40B4-BE49-F238E27FC236}">
                <a16:creationId xmlns:a16="http://schemas.microsoft.com/office/drawing/2014/main" id="{1845E586-BA03-C255-AD7C-E2B4E2F2926C}"/>
              </a:ext>
            </a:extLst>
          </p:cNvPr>
          <p:cNvSpPr>
            <a:spLocks noGrp="1"/>
          </p:cNvSpPr>
          <p:nvPr>
            <p:ph type="body" sz="quarter" idx="29" hasCustomPrompt="1"/>
          </p:nvPr>
        </p:nvSpPr>
        <p:spPr>
          <a:xfrm>
            <a:off x="7981950" y="5319336"/>
            <a:ext cx="2832100" cy="1052441"/>
          </a:xfrm>
        </p:spPr>
        <p:txBody>
          <a:bodyPr/>
          <a:lstStyle>
            <a:lvl1pPr marL="17463" indent="0">
              <a:buFont typeface="Arial" panose="020B0604020202020204" pitchFamily="34" charset="0"/>
              <a:buNone/>
              <a:tabLst/>
              <a:defRPr/>
            </a:lvl1pPr>
            <a:lvl2pPr marL="17463" indent="0">
              <a:buFont typeface="Arial" panose="020B0604020202020204" pitchFamily="34" charset="0"/>
              <a:buNone/>
              <a:tabLst/>
              <a:defRPr/>
            </a:lvl2pPr>
            <a:lvl3pPr marL="17463" indent="0">
              <a:buFont typeface="Arial" panose="020B0604020202020204" pitchFamily="34" charset="0"/>
              <a:buNone/>
              <a:tabLst/>
              <a:defRPr/>
            </a:lvl3pPr>
            <a:lvl4pPr marL="17463" indent="0">
              <a:buFont typeface="Arial" panose="020B0604020202020204" pitchFamily="34" charset="0"/>
              <a:buNone/>
              <a:tabLst/>
              <a:defRPr/>
            </a:lvl4pPr>
            <a:lvl5pPr marL="17463" indent="0">
              <a:buFont typeface="Arial" panose="020B0604020202020204" pitchFamily="34" charset="0"/>
              <a:buNone/>
              <a:tabLst/>
              <a:defRPr/>
            </a:lvl5pPr>
          </a:lstStyle>
          <a:p>
            <a:pPr lvl="0"/>
            <a:r>
              <a:rPr lang="en-GB" err="1"/>
              <a:t>Tekst</a:t>
            </a:r>
            <a:endParaRPr lang="en-GB"/>
          </a:p>
        </p:txBody>
      </p:sp>
      <p:sp>
        <p:nvSpPr>
          <p:cNvPr id="32" name="Pladsholder til tekst 8">
            <a:extLst>
              <a:ext uri="{FF2B5EF4-FFF2-40B4-BE49-F238E27FC236}">
                <a16:creationId xmlns:a16="http://schemas.microsoft.com/office/drawing/2014/main" id="{26421C3B-18E1-ECB0-AD87-949AA8673C2A}"/>
              </a:ext>
            </a:extLst>
          </p:cNvPr>
          <p:cNvSpPr>
            <a:spLocks noGrp="1"/>
          </p:cNvSpPr>
          <p:nvPr>
            <p:ph type="body" sz="quarter" idx="30" hasCustomPrompt="1"/>
          </p:nvPr>
        </p:nvSpPr>
        <p:spPr>
          <a:xfrm>
            <a:off x="7981950" y="4288831"/>
            <a:ext cx="2832099" cy="1002283"/>
          </a:xfrm>
        </p:spPr>
        <p:txBody>
          <a:bodyPr anchor="b"/>
          <a:lstStyle>
            <a:lvl1pPr marL="0" indent="0">
              <a:buNone/>
              <a:defRPr sz="6000">
                <a:latin typeface="+mj-lt"/>
              </a:defRPr>
            </a:lvl1pPr>
          </a:lstStyle>
          <a:p>
            <a:pPr lvl="0"/>
            <a:r>
              <a:rPr lang="en-GB"/>
              <a:t>XX</a:t>
            </a:r>
          </a:p>
        </p:txBody>
      </p:sp>
    </p:spTree>
    <p:extLst>
      <p:ext uri="{BB962C8B-B14F-4D97-AF65-F5344CB8AC3E}">
        <p14:creationId xmlns:p14="http://schemas.microsoft.com/office/powerpoint/2010/main" val="3047241862"/>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eksbokse">
    <p:bg>
      <p:bgPr>
        <a:solidFill>
          <a:schemeClr val="accent2"/>
        </a:solidFill>
        <a:effectLst/>
      </p:bgPr>
    </p:bg>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2049714F-87A2-0C40-C178-30B1C769451F}"/>
              </a:ext>
            </a:extLst>
          </p:cNvPr>
          <p:cNvSpPr/>
          <p:nvPr/>
        </p:nvSpPr>
        <p:spPr>
          <a:xfrm>
            <a:off x="4351800"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8">
            <a:extLst>
              <a:ext uri="{FF2B5EF4-FFF2-40B4-BE49-F238E27FC236}">
                <a16:creationId xmlns:a16="http://schemas.microsoft.com/office/drawing/2014/main" id="{62515245-7125-065C-49C4-CF09B2897FE8}"/>
              </a:ext>
            </a:extLst>
          </p:cNvPr>
          <p:cNvSpPr>
            <a:spLocks noGrp="1"/>
          </p:cNvSpPr>
          <p:nvPr>
            <p:ph type="body" sz="quarter" idx="14" hasCustomPrompt="1"/>
          </p:nvPr>
        </p:nvSpPr>
        <p:spPr>
          <a:xfrm>
            <a:off x="4351800"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en-GB" err="1"/>
              <a:t>Overskrift</a:t>
            </a:r>
            <a:r>
              <a:rPr lang="en-GB"/>
              <a:t> </a:t>
            </a:r>
            <a:br>
              <a:rPr lang="en-GB"/>
            </a:br>
            <a:r>
              <a:rPr lang="en-GB"/>
              <a:t>max 2 </a:t>
            </a:r>
            <a:r>
              <a:rPr lang="en-GB" err="1"/>
              <a:t>linjer</a:t>
            </a:r>
            <a:endParaRPr lang="en-GB"/>
          </a:p>
        </p:txBody>
      </p:sp>
      <p:sp>
        <p:nvSpPr>
          <p:cNvPr id="16" name="Rounded Rectangle 15">
            <a:extLst>
              <a:ext uri="{FF2B5EF4-FFF2-40B4-BE49-F238E27FC236}">
                <a16:creationId xmlns:a16="http://schemas.microsoft.com/office/drawing/2014/main" id="{F1A2B91E-AF26-3BDA-3331-E3A9BB42B59D}"/>
              </a:ext>
            </a:extLst>
          </p:cNvPr>
          <p:cNvSpPr/>
          <p:nvPr/>
        </p:nvSpPr>
        <p:spPr>
          <a:xfrm>
            <a:off x="431798"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8">
            <a:extLst>
              <a:ext uri="{FF2B5EF4-FFF2-40B4-BE49-F238E27FC236}">
                <a16:creationId xmlns:a16="http://schemas.microsoft.com/office/drawing/2014/main" id="{24F82C40-6270-A4FC-E4F6-2B33A886CAE9}"/>
              </a:ext>
            </a:extLst>
          </p:cNvPr>
          <p:cNvSpPr>
            <a:spLocks noGrp="1"/>
          </p:cNvSpPr>
          <p:nvPr>
            <p:ph type="body" sz="quarter" idx="18" hasCustomPrompt="1"/>
          </p:nvPr>
        </p:nvSpPr>
        <p:spPr>
          <a:xfrm>
            <a:off x="43179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en-GB" err="1"/>
              <a:t>Overskrift</a:t>
            </a:r>
            <a:r>
              <a:rPr lang="en-GB"/>
              <a:t> </a:t>
            </a:r>
            <a:br>
              <a:rPr lang="en-GB"/>
            </a:br>
            <a:r>
              <a:rPr lang="en-GB"/>
              <a:t>max 2 </a:t>
            </a:r>
            <a:r>
              <a:rPr lang="en-GB" err="1"/>
              <a:t>linjer</a:t>
            </a:r>
            <a:endParaRPr lang="en-GB"/>
          </a:p>
        </p:txBody>
      </p:sp>
      <p:sp>
        <p:nvSpPr>
          <p:cNvPr id="19" name="Rounded Rectangle 18">
            <a:extLst>
              <a:ext uri="{FF2B5EF4-FFF2-40B4-BE49-F238E27FC236}">
                <a16:creationId xmlns:a16="http://schemas.microsoft.com/office/drawing/2014/main" id="{614E7FEE-E355-6E90-81C3-053932F09AC4}"/>
              </a:ext>
            </a:extLst>
          </p:cNvPr>
          <p:cNvSpPr/>
          <p:nvPr/>
        </p:nvSpPr>
        <p:spPr>
          <a:xfrm>
            <a:off x="8268488" y="1146931"/>
            <a:ext cx="3488400" cy="4698000"/>
          </a:xfrm>
          <a:prstGeom prst="roundRect">
            <a:avLst>
              <a:gd name="adj" fmla="val 51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 Placeholder 8">
            <a:extLst>
              <a:ext uri="{FF2B5EF4-FFF2-40B4-BE49-F238E27FC236}">
                <a16:creationId xmlns:a16="http://schemas.microsoft.com/office/drawing/2014/main" id="{32522D3D-A888-4D4E-E799-F032BD48DBF8}"/>
              </a:ext>
            </a:extLst>
          </p:cNvPr>
          <p:cNvSpPr>
            <a:spLocks noGrp="1"/>
          </p:cNvSpPr>
          <p:nvPr>
            <p:ph type="body" sz="quarter" idx="20" hasCustomPrompt="1"/>
          </p:nvPr>
        </p:nvSpPr>
        <p:spPr>
          <a:xfrm>
            <a:off x="826848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en-GB" err="1"/>
              <a:t>Overskrift</a:t>
            </a:r>
            <a:r>
              <a:rPr lang="en-GB"/>
              <a:t> </a:t>
            </a:r>
            <a:br>
              <a:rPr lang="en-GB"/>
            </a:br>
            <a:r>
              <a:rPr lang="en-GB"/>
              <a:t>max 2 </a:t>
            </a:r>
            <a:r>
              <a:rPr lang="en-GB" err="1"/>
              <a:t>linjer</a:t>
            </a:r>
            <a:endParaRPr lang="en-GB"/>
          </a:p>
        </p:txBody>
      </p:sp>
      <p:pic>
        <p:nvPicPr>
          <p:cNvPr id="2" name="Graphic 5">
            <a:extLst>
              <a:ext uri="{FF2B5EF4-FFF2-40B4-BE49-F238E27FC236}">
                <a16:creationId xmlns:a16="http://schemas.microsoft.com/office/drawing/2014/main" id="{717FFA4B-AC44-5C64-8538-6FFE8CE59F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1DAC7960-0F60-8228-DC1E-5FE7BABE62F6}"/>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
        <p:nvSpPr>
          <p:cNvPr id="5" name="Pladsholder til tekst 4">
            <a:extLst>
              <a:ext uri="{FF2B5EF4-FFF2-40B4-BE49-F238E27FC236}">
                <a16:creationId xmlns:a16="http://schemas.microsoft.com/office/drawing/2014/main" id="{625AF3E6-1B1D-615D-AD7B-5A3713E0A811}"/>
              </a:ext>
            </a:extLst>
          </p:cNvPr>
          <p:cNvSpPr>
            <a:spLocks noGrp="1"/>
          </p:cNvSpPr>
          <p:nvPr>
            <p:ph type="body" sz="quarter" idx="22" hasCustomPrompt="1"/>
          </p:nvPr>
        </p:nvSpPr>
        <p:spPr>
          <a:xfrm>
            <a:off x="431800" y="2622927"/>
            <a:ext cx="3487738" cy="3222003"/>
          </a:xfrm>
        </p:spPr>
        <p:txBody>
          <a:bodyPr lIns="360000" rIns="360000" bIns="360000"/>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6" name="Pladsholder til tekst 4">
            <a:extLst>
              <a:ext uri="{FF2B5EF4-FFF2-40B4-BE49-F238E27FC236}">
                <a16:creationId xmlns:a16="http://schemas.microsoft.com/office/drawing/2014/main" id="{C3745A2D-44F6-B643-C86C-6C3FDAA140FB}"/>
              </a:ext>
            </a:extLst>
          </p:cNvPr>
          <p:cNvSpPr>
            <a:spLocks noGrp="1"/>
          </p:cNvSpPr>
          <p:nvPr>
            <p:ph type="body" sz="quarter" idx="23" hasCustomPrompt="1"/>
          </p:nvPr>
        </p:nvSpPr>
        <p:spPr>
          <a:xfrm>
            <a:off x="4352462" y="2622927"/>
            <a:ext cx="3487738" cy="3222003"/>
          </a:xfrm>
        </p:spPr>
        <p:txBody>
          <a:bodyPr lIns="360000" rIns="360000" bIns="360000"/>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4">
            <a:extLst>
              <a:ext uri="{FF2B5EF4-FFF2-40B4-BE49-F238E27FC236}">
                <a16:creationId xmlns:a16="http://schemas.microsoft.com/office/drawing/2014/main" id="{4EF11347-B30A-0269-0A85-C2CA92E80428}"/>
              </a:ext>
            </a:extLst>
          </p:cNvPr>
          <p:cNvSpPr>
            <a:spLocks noGrp="1"/>
          </p:cNvSpPr>
          <p:nvPr>
            <p:ph type="body" sz="quarter" idx="24" hasCustomPrompt="1"/>
          </p:nvPr>
        </p:nvSpPr>
        <p:spPr>
          <a:xfrm>
            <a:off x="8256150" y="2622926"/>
            <a:ext cx="3487738" cy="3222003"/>
          </a:xfrm>
        </p:spPr>
        <p:txBody>
          <a:bodyPr lIns="360000" rIns="360000" bIns="360000"/>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Tree>
    <p:extLst>
      <p:ext uri="{BB962C8B-B14F-4D97-AF65-F5344CB8AC3E}">
        <p14:creationId xmlns:p14="http://schemas.microsoft.com/office/powerpoint/2010/main" val="30387316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Bokse Tekst/Billede/Tekst">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E8CB959-5317-3A20-C0CF-8BF3FFB60B69}"/>
              </a:ext>
            </a:extLst>
          </p:cNvPr>
          <p:cNvSpPr>
            <a:spLocks noGrp="1"/>
          </p:cNvSpPr>
          <p:nvPr>
            <p:ph type="pic" sz="quarter" idx="22" hasCustomPrompt="1"/>
          </p:nvPr>
        </p:nvSpPr>
        <p:spPr>
          <a:xfrm>
            <a:off x="4351338" y="1146175"/>
            <a:ext cx="3489325" cy="4699000"/>
          </a:xfrm>
          <a:prstGeom prst="roundRect">
            <a:avLst>
              <a:gd name="adj" fmla="val 5291"/>
            </a:avLst>
          </a:prstGeom>
          <a:solidFill>
            <a:schemeClr val="bg1"/>
          </a:solidFill>
        </p:spPr>
        <p:txBody>
          <a:bodyPr>
            <a:normAutofit/>
          </a:bodyPr>
          <a:lstStyle>
            <a:lvl1pPr marL="0" indent="0" algn="ctr">
              <a:buFontTx/>
              <a:buNone/>
              <a:defRPr sz="1100"/>
            </a:lvl1pPr>
          </a:lstStyle>
          <a:p>
            <a:r>
              <a:rPr lang="en-GB" err="1"/>
              <a:t>Klik</a:t>
            </a:r>
            <a:r>
              <a:rPr lang="en-GB"/>
              <a:t> </a:t>
            </a:r>
            <a:r>
              <a:rPr lang="en-GB" err="1"/>
              <a:t>på</a:t>
            </a:r>
            <a:r>
              <a:rPr lang="en-GB"/>
              <a:t> </a:t>
            </a:r>
            <a:r>
              <a:rPr lang="en-GB" err="1"/>
              <a:t>ikonet</a:t>
            </a:r>
            <a:r>
              <a:rPr lang="en-GB"/>
              <a:t> for at </a:t>
            </a:r>
            <a:r>
              <a:rPr lang="en-GB" err="1"/>
              <a:t>tilføje</a:t>
            </a:r>
            <a:r>
              <a:rPr lang="en-GB"/>
              <a:t> et </a:t>
            </a:r>
            <a:r>
              <a:rPr lang="en-GB" err="1"/>
              <a:t>billede</a:t>
            </a:r>
            <a:endParaRPr lang="en-GB"/>
          </a:p>
        </p:txBody>
      </p:sp>
      <p:sp>
        <p:nvSpPr>
          <p:cNvPr id="16" name="Rounded Rectangle 15">
            <a:extLst>
              <a:ext uri="{FF2B5EF4-FFF2-40B4-BE49-F238E27FC236}">
                <a16:creationId xmlns:a16="http://schemas.microsoft.com/office/drawing/2014/main" id="{F1A2B91E-AF26-3BDA-3331-E3A9BB42B59D}"/>
              </a:ext>
            </a:extLst>
          </p:cNvPr>
          <p:cNvSpPr/>
          <p:nvPr/>
        </p:nvSpPr>
        <p:spPr>
          <a:xfrm>
            <a:off x="431800" y="1146175"/>
            <a:ext cx="3488400" cy="4698000"/>
          </a:xfrm>
          <a:prstGeom prst="roundRect">
            <a:avLst>
              <a:gd name="adj" fmla="val 51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8">
            <a:extLst>
              <a:ext uri="{FF2B5EF4-FFF2-40B4-BE49-F238E27FC236}">
                <a16:creationId xmlns:a16="http://schemas.microsoft.com/office/drawing/2014/main" id="{24F82C40-6270-A4FC-E4F6-2B33A886CAE9}"/>
              </a:ext>
            </a:extLst>
          </p:cNvPr>
          <p:cNvSpPr>
            <a:spLocks noGrp="1"/>
          </p:cNvSpPr>
          <p:nvPr>
            <p:ph type="body" sz="quarter" idx="18" hasCustomPrompt="1"/>
          </p:nvPr>
        </p:nvSpPr>
        <p:spPr>
          <a:xfrm>
            <a:off x="43179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en-GB" err="1"/>
              <a:t>Overskrift</a:t>
            </a:r>
            <a:r>
              <a:rPr lang="en-GB"/>
              <a:t> </a:t>
            </a:r>
            <a:br>
              <a:rPr lang="en-GB"/>
            </a:br>
            <a:r>
              <a:rPr lang="en-GB"/>
              <a:t>max 2 </a:t>
            </a:r>
            <a:r>
              <a:rPr lang="en-GB" err="1"/>
              <a:t>linjer</a:t>
            </a:r>
            <a:endParaRPr lang="en-GB"/>
          </a:p>
        </p:txBody>
      </p:sp>
      <p:sp>
        <p:nvSpPr>
          <p:cNvPr id="19" name="Rounded Rectangle 18">
            <a:extLst>
              <a:ext uri="{FF2B5EF4-FFF2-40B4-BE49-F238E27FC236}">
                <a16:creationId xmlns:a16="http://schemas.microsoft.com/office/drawing/2014/main" id="{614E7FEE-E355-6E90-81C3-053932F09AC4}"/>
              </a:ext>
            </a:extLst>
          </p:cNvPr>
          <p:cNvSpPr/>
          <p:nvPr/>
        </p:nvSpPr>
        <p:spPr>
          <a:xfrm>
            <a:off x="8268488" y="1146931"/>
            <a:ext cx="3488400" cy="4698000"/>
          </a:xfrm>
          <a:prstGeom prst="roundRect">
            <a:avLst>
              <a:gd name="adj" fmla="val 516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 Placeholder 8">
            <a:extLst>
              <a:ext uri="{FF2B5EF4-FFF2-40B4-BE49-F238E27FC236}">
                <a16:creationId xmlns:a16="http://schemas.microsoft.com/office/drawing/2014/main" id="{32522D3D-A888-4D4E-E799-F032BD48DBF8}"/>
              </a:ext>
            </a:extLst>
          </p:cNvPr>
          <p:cNvSpPr>
            <a:spLocks noGrp="1"/>
          </p:cNvSpPr>
          <p:nvPr>
            <p:ph type="body" sz="quarter" idx="20" hasCustomPrompt="1"/>
          </p:nvPr>
        </p:nvSpPr>
        <p:spPr>
          <a:xfrm>
            <a:off x="8268488" y="1146931"/>
            <a:ext cx="3488400" cy="4698000"/>
          </a:xfrm>
          <a:noFill/>
        </p:spPr>
        <p:txBody>
          <a:bodyPr lIns="360000" tIns="360000" rIns="360000" bIns="360000" anchor="t" anchorCtr="0">
            <a:noAutofit/>
          </a:bodyPr>
          <a:lstStyle>
            <a:lvl1pPr marL="12700" indent="0" algn="l">
              <a:lnSpc>
                <a:spcPts val="2600"/>
              </a:lnSpc>
              <a:spcBef>
                <a:spcPts val="0"/>
              </a:spcBef>
              <a:buFontTx/>
              <a:buNone/>
              <a:tabLst/>
              <a:defRPr sz="2600">
                <a:latin typeface="Eifont Display" pitchFamily="2" charset="77"/>
              </a:defRPr>
            </a:lvl1pPr>
            <a:lvl2pPr marL="12700" indent="0">
              <a:buFontTx/>
              <a:buNone/>
              <a:tabLst/>
              <a:defRPr sz="3600"/>
            </a:lvl2pPr>
            <a:lvl3pPr marL="12700" indent="0">
              <a:buFontTx/>
              <a:buNone/>
              <a:tabLst/>
              <a:defRPr sz="3600"/>
            </a:lvl3pPr>
            <a:lvl4pPr marL="12700" indent="0">
              <a:buFontTx/>
              <a:buNone/>
              <a:tabLst/>
              <a:defRPr sz="3600"/>
            </a:lvl4pPr>
            <a:lvl5pPr marL="12700" indent="0">
              <a:buFontTx/>
              <a:buNone/>
              <a:tabLst/>
              <a:defRPr sz="3600"/>
            </a:lvl5pPr>
          </a:lstStyle>
          <a:p>
            <a:pPr lvl="0"/>
            <a:r>
              <a:rPr lang="en-GB" err="1"/>
              <a:t>Overskrift</a:t>
            </a:r>
            <a:r>
              <a:rPr lang="en-GB"/>
              <a:t> </a:t>
            </a:r>
            <a:br>
              <a:rPr lang="en-GB"/>
            </a:br>
            <a:r>
              <a:rPr lang="en-GB"/>
              <a:t>max 2 </a:t>
            </a:r>
            <a:r>
              <a:rPr lang="en-GB" err="1"/>
              <a:t>linjer</a:t>
            </a:r>
            <a:endParaRPr lang="en-GB"/>
          </a:p>
        </p:txBody>
      </p:sp>
      <p:pic>
        <p:nvPicPr>
          <p:cNvPr id="2" name="Graphic 5">
            <a:extLst>
              <a:ext uri="{FF2B5EF4-FFF2-40B4-BE49-F238E27FC236}">
                <a16:creationId xmlns:a16="http://schemas.microsoft.com/office/drawing/2014/main" id="{4FF4E234-2393-0B45-6F80-2137837ED9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4" name="Slide Number Placeholder 5">
            <a:extLst>
              <a:ext uri="{FF2B5EF4-FFF2-40B4-BE49-F238E27FC236}">
                <a16:creationId xmlns:a16="http://schemas.microsoft.com/office/drawing/2014/main" id="{5C171F39-F307-5250-4292-705B971CADF0}"/>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
        <p:nvSpPr>
          <p:cNvPr id="5" name="Pladsholder til tekst 4">
            <a:extLst>
              <a:ext uri="{FF2B5EF4-FFF2-40B4-BE49-F238E27FC236}">
                <a16:creationId xmlns:a16="http://schemas.microsoft.com/office/drawing/2014/main" id="{8EDB5390-1E18-37DC-4B2A-8162CF2771D9}"/>
              </a:ext>
            </a:extLst>
          </p:cNvPr>
          <p:cNvSpPr>
            <a:spLocks noGrp="1"/>
          </p:cNvSpPr>
          <p:nvPr>
            <p:ph type="body" sz="quarter" idx="23" hasCustomPrompt="1"/>
          </p:nvPr>
        </p:nvSpPr>
        <p:spPr>
          <a:xfrm>
            <a:off x="431796" y="2629964"/>
            <a:ext cx="3487738" cy="3222003"/>
          </a:xfrm>
        </p:spPr>
        <p:txBody>
          <a:bodyPr lIns="360000" rIns="360000" bIns="360000"/>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6" name="Pladsholder til tekst 4">
            <a:extLst>
              <a:ext uri="{FF2B5EF4-FFF2-40B4-BE49-F238E27FC236}">
                <a16:creationId xmlns:a16="http://schemas.microsoft.com/office/drawing/2014/main" id="{83F5EFA9-211E-1AD8-2C8C-4EC74FD49DEF}"/>
              </a:ext>
            </a:extLst>
          </p:cNvPr>
          <p:cNvSpPr>
            <a:spLocks noGrp="1"/>
          </p:cNvSpPr>
          <p:nvPr>
            <p:ph type="body" sz="quarter" idx="24" hasCustomPrompt="1"/>
          </p:nvPr>
        </p:nvSpPr>
        <p:spPr>
          <a:xfrm>
            <a:off x="8268488" y="2629963"/>
            <a:ext cx="3487738" cy="3222003"/>
          </a:xfrm>
        </p:spPr>
        <p:txBody>
          <a:bodyPr lIns="360000" rIns="360000" bIns="360000"/>
          <a:lstStyle>
            <a:lvl1pPr>
              <a:defRPr lang="da-DK" dirty="0" smtClean="0"/>
            </a:lvl1pPr>
            <a:lvl2pPr>
              <a:defRPr lang="da-DK" dirty="0" smtClean="0"/>
            </a:lvl2pPr>
            <a:lvl3pPr>
              <a:defRPr lang="da-DK" dirty="0" smtClean="0"/>
            </a:lvl3pPr>
            <a:lvl4pPr>
              <a:defRPr lang="da-DK" dirty="0" smtClean="0"/>
            </a:lvl4pPr>
            <a:lvl5pPr>
              <a:defRPr lang="da-DK" dirty="0"/>
            </a:lvl5pPr>
          </a:lstStyle>
          <a:p>
            <a:pPr lvl="0"/>
            <a:r>
              <a:rPr lang="en-GB" err="1"/>
              <a:t>Klik</a:t>
            </a:r>
            <a:r>
              <a:rPr lang="en-GB"/>
              <a:t> for at </a:t>
            </a:r>
            <a:r>
              <a:rPr lang="en-GB" err="1"/>
              <a:t>redigere</a:t>
            </a:r>
            <a:r>
              <a:rPr lang="en-GB"/>
              <a:t> </a:t>
            </a:r>
            <a:r>
              <a:rPr lang="en-GB" err="1"/>
              <a:t>teksttypografierne</a:t>
            </a:r>
            <a:r>
              <a:rPr lang="en-GB"/>
              <a:t> </a:t>
            </a:r>
            <a:r>
              <a:rPr lang="en-GB" err="1"/>
              <a:t>i</a:t>
            </a:r>
            <a:r>
              <a:rPr lang="en-GB"/>
              <a:t> </a:t>
            </a:r>
            <a:r>
              <a:rPr lang="en-GB" err="1"/>
              <a:t>masteren</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Tree>
    <p:extLst>
      <p:ext uri="{BB962C8B-B14F-4D97-AF65-F5344CB8AC3E}">
        <p14:creationId xmlns:p14="http://schemas.microsoft.com/office/powerpoint/2010/main" val="11026392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Agenda 2">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p:txBody>
          <a:bodyPr/>
          <a:lstStyle>
            <a:lvl1pPr>
              <a:defRPr>
                <a:solidFill>
                  <a:schemeClr val="tx1"/>
                </a:solidFill>
              </a:defRPr>
            </a:lvl1pPr>
          </a:lstStyle>
          <a:p>
            <a:r>
              <a:rPr lang="da-DK"/>
              <a:t>Agenda (Klik for at ændre overskrift)</a:t>
            </a:r>
          </a:p>
        </p:txBody>
      </p:sp>
      <p:pic>
        <p:nvPicPr>
          <p:cNvPr id="7" name="Graphic 5">
            <a:extLst>
              <a:ext uri="{FF2B5EF4-FFF2-40B4-BE49-F238E27FC236}">
                <a16:creationId xmlns:a16="http://schemas.microsoft.com/office/drawing/2014/main" id="{21CD1B7E-FEC6-5D6C-92B2-ABE378767B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123C5046-4C6C-59AA-DBE8-D4C3A1E6259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pic>
        <p:nvPicPr>
          <p:cNvPr id="4" name="Graphic 5">
            <a:extLst>
              <a:ext uri="{FF2B5EF4-FFF2-40B4-BE49-F238E27FC236}">
                <a16:creationId xmlns:a16="http://schemas.microsoft.com/office/drawing/2014/main" id="{045AD00E-E35A-F028-4852-05834E8CB3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24213" y="432000"/>
            <a:ext cx="734400" cy="378216"/>
          </a:xfrm>
          <a:prstGeom prst="rect">
            <a:avLst/>
          </a:prstGeom>
        </p:spPr>
      </p:pic>
      <p:sp>
        <p:nvSpPr>
          <p:cNvPr id="6" name="Pladsholder til tekst 5">
            <a:extLst>
              <a:ext uri="{FF2B5EF4-FFF2-40B4-BE49-F238E27FC236}">
                <a16:creationId xmlns:a16="http://schemas.microsoft.com/office/drawing/2014/main" id="{93C38F4C-30DF-C1E3-3C3F-DC1B19640C21}"/>
              </a:ext>
            </a:extLst>
          </p:cNvPr>
          <p:cNvSpPr>
            <a:spLocks noGrp="1"/>
          </p:cNvSpPr>
          <p:nvPr>
            <p:ph type="body" sz="quarter" idx="10" hasCustomPrompt="1"/>
          </p:nvPr>
        </p:nvSpPr>
        <p:spPr>
          <a:xfrm>
            <a:off x="431800" y="2162175"/>
            <a:ext cx="9439275" cy="3614738"/>
          </a:xfrm>
        </p:spPr>
        <p:txBody>
          <a:bodyPr/>
          <a:lstStyle>
            <a:lvl1pPr>
              <a:lnSpc>
                <a:spcPct val="120000"/>
              </a:lnSpc>
              <a:buClr>
                <a:srgbClr val="66F58A"/>
              </a:buClr>
              <a:defRPr sz="2400"/>
            </a:lvl1pPr>
            <a:lvl2pPr>
              <a:lnSpc>
                <a:spcPct val="120000"/>
              </a:lnSpc>
              <a:buClr>
                <a:srgbClr val="66F58A"/>
              </a:buClr>
              <a:defRPr sz="2400"/>
            </a:lvl2pPr>
            <a:lvl3pPr>
              <a:lnSpc>
                <a:spcPct val="120000"/>
              </a:lnSpc>
              <a:buClr>
                <a:srgbClr val="66F58A"/>
              </a:buClr>
              <a:defRPr sz="2400"/>
            </a:lvl3pPr>
            <a:lvl4pPr>
              <a:lnSpc>
                <a:spcPct val="120000"/>
              </a:lnSpc>
              <a:buClr>
                <a:srgbClr val="66F58A"/>
              </a:buClr>
              <a:defRPr sz="2400"/>
            </a:lvl4pPr>
            <a:lvl5pPr>
              <a:lnSpc>
                <a:spcPct val="120000"/>
              </a:lnSpc>
              <a:buClr>
                <a:srgbClr val="66F58A"/>
              </a:buClr>
              <a:defRPr sz="24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638711828"/>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Tomt slide">
    <p:spTree>
      <p:nvGrpSpPr>
        <p:cNvPr id="1" name=""/>
        <p:cNvGrpSpPr/>
        <p:nvPr/>
      </p:nvGrpSpPr>
      <p:grpSpPr>
        <a:xfrm>
          <a:off x="0" y="0"/>
          <a:ext cx="0" cy="0"/>
          <a:chOff x="0" y="0"/>
          <a:chExt cx="0" cy="0"/>
        </a:xfrm>
      </p:grpSpPr>
      <p:pic>
        <p:nvPicPr>
          <p:cNvPr id="4" name="Graphic 5">
            <a:extLst>
              <a:ext uri="{FF2B5EF4-FFF2-40B4-BE49-F238E27FC236}">
                <a16:creationId xmlns:a16="http://schemas.microsoft.com/office/drawing/2014/main" id="{07BA6274-1E8A-E62B-EB85-E7B7768461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Slide Number Placeholder 5">
            <a:extLst>
              <a:ext uri="{FF2B5EF4-FFF2-40B4-BE49-F238E27FC236}">
                <a16:creationId xmlns:a16="http://schemas.microsoft.com/office/drawing/2014/main" id="{54F99EAE-C352-9D28-EC7A-390F149450F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10801709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lut">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2" name="Kombinationstegning: figur 11">
            <a:extLst>
              <a:ext uri="{FF2B5EF4-FFF2-40B4-BE49-F238E27FC236}">
                <a16:creationId xmlns:a16="http://schemas.microsoft.com/office/drawing/2014/main" id="{BBF3F5FD-EA4F-97E9-EBF0-DEF717EF951B}"/>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AFC0AA"/>
          </a:solidFill>
          <a:ln w="6350" cap="flat">
            <a:noFill/>
            <a:prstDash val="solid"/>
            <a:miter/>
          </a:ln>
        </p:spPr>
        <p:txBody>
          <a:bodyPr rtlCol="0" anchor="ctr"/>
          <a:lstStyle/>
          <a:p>
            <a:endParaRPr lang="en-GB"/>
          </a:p>
        </p:txBody>
      </p:sp>
      <p:sp>
        <p:nvSpPr>
          <p:cNvPr id="13" name="Kombinationstegning: figur 12">
            <a:extLst>
              <a:ext uri="{FF2B5EF4-FFF2-40B4-BE49-F238E27FC236}">
                <a16:creationId xmlns:a16="http://schemas.microsoft.com/office/drawing/2014/main" id="{6C7890A8-6459-F4B1-A181-8AEF37238AE1}"/>
              </a:ext>
            </a:extLst>
          </p:cNvPr>
          <p:cNvSpPr/>
          <p:nvPr/>
        </p:nvSpPr>
        <p:spPr>
          <a:xfrm>
            <a:off x="0" y="0"/>
            <a:ext cx="4807839" cy="6858000"/>
          </a:xfrm>
          <a:custGeom>
            <a:avLst/>
            <a:gdLst>
              <a:gd name="connsiteX0" fmla="*/ 3809111 w 4807839"/>
              <a:gd name="connsiteY0" fmla="*/ 6858000 h 6858000"/>
              <a:gd name="connsiteX1" fmla="*/ 3554222 w 4807839"/>
              <a:gd name="connsiteY1" fmla="*/ 4554474 h 6858000"/>
              <a:gd name="connsiteX2" fmla="*/ 2821051 w 4807839"/>
              <a:gd name="connsiteY2" fmla="*/ 2303336 h 6858000"/>
              <a:gd name="connsiteX3" fmla="*/ 4807839 w 4807839"/>
              <a:gd name="connsiteY3" fmla="*/ 0 h 6858000"/>
              <a:gd name="connsiteX4" fmla="*/ 0 w 4807839"/>
              <a:gd name="connsiteY4" fmla="*/ 0 h 6858000"/>
              <a:gd name="connsiteX5" fmla="*/ 0 w 4807839"/>
              <a:gd name="connsiteY5" fmla="*/ 6858000 h 6858000"/>
              <a:gd name="connsiteX6" fmla="*/ 3809111 w 480783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839" h="6858000">
                <a:moveTo>
                  <a:pt x="3809111" y="6858000"/>
                </a:moveTo>
                <a:cubicBezTo>
                  <a:pt x="4123309" y="6126988"/>
                  <a:pt x="3877120" y="5281676"/>
                  <a:pt x="3554222" y="4554474"/>
                </a:cubicBezTo>
                <a:cubicBezTo>
                  <a:pt x="3231325" y="3827272"/>
                  <a:pt x="2825115" y="3098991"/>
                  <a:pt x="2821051" y="2303336"/>
                </a:cubicBezTo>
                <a:cubicBezTo>
                  <a:pt x="2815400" y="1197039"/>
                  <a:pt x="3712718" y="156782"/>
                  <a:pt x="4807839" y="0"/>
                </a:cubicBezTo>
                <a:lnTo>
                  <a:pt x="0" y="0"/>
                </a:lnTo>
                <a:cubicBezTo>
                  <a:pt x="0" y="0"/>
                  <a:pt x="0" y="6858000"/>
                  <a:pt x="0" y="6858000"/>
                </a:cubicBezTo>
                <a:lnTo>
                  <a:pt x="3809111" y="6858000"/>
                </a:lnTo>
                <a:close/>
              </a:path>
            </a:pathLst>
          </a:custGeom>
          <a:solidFill>
            <a:srgbClr val="EBEBD7"/>
          </a:solidFill>
          <a:ln w="6350" cap="flat">
            <a:noFill/>
            <a:prstDash val="solid"/>
            <a:miter/>
          </a:ln>
        </p:spPr>
        <p:txBody>
          <a:bodyPr rtlCol="0" anchor="ctr"/>
          <a:lstStyle/>
          <a:p>
            <a:endParaRPr lang="en-GB"/>
          </a:p>
        </p:txBody>
      </p:sp>
      <p:sp>
        <p:nvSpPr>
          <p:cNvPr id="14" name="Kombinationstegning: figur 13">
            <a:extLst>
              <a:ext uri="{FF2B5EF4-FFF2-40B4-BE49-F238E27FC236}">
                <a16:creationId xmlns:a16="http://schemas.microsoft.com/office/drawing/2014/main" id="{31223D89-3560-5E66-3CA8-AAB2A5F5CC84}"/>
              </a:ext>
            </a:extLst>
          </p:cNvPr>
          <p:cNvSpPr/>
          <p:nvPr/>
        </p:nvSpPr>
        <p:spPr>
          <a:xfrm>
            <a:off x="7576121" y="0"/>
            <a:ext cx="4615878" cy="6858000"/>
          </a:xfrm>
          <a:custGeom>
            <a:avLst/>
            <a:gdLst>
              <a:gd name="connsiteX0" fmla="*/ 0 w 4615878"/>
              <a:gd name="connsiteY0" fmla="*/ 4045458 h 6858000"/>
              <a:gd name="connsiteX1" fmla="*/ 1624838 w 4615878"/>
              <a:gd name="connsiteY1" fmla="*/ 0 h 6858000"/>
              <a:gd name="connsiteX2" fmla="*/ 1624838 w 4615878"/>
              <a:gd name="connsiteY2" fmla="*/ 0 h 6858000"/>
              <a:gd name="connsiteX3" fmla="*/ 4615879 w 4615878"/>
              <a:gd name="connsiteY3" fmla="*/ 0 h 6858000"/>
              <a:gd name="connsiteX4" fmla="*/ 4615879 w 4615878"/>
              <a:gd name="connsiteY4" fmla="*/ 6858000 h 6858000"/>
              <a:gd name="connsiteX5" fmla="*/ 2445576 w 4615878"/>
              <a:gd name="connsiteY5" fmla="*/ 6858000 h 6858000"/>
              <a:gd name="connsiteX6" fmla="*/ 1286764 w 4615878"/>
              <a:gd name="connsiteY6" fmla="*/ 4045458 h 6858000"/>
              <a:gd name="connsiteX7" fmla="*/ 0 w 4615878"/>
              <a:gd name="connsiteY7" fmla="*/ 404545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5878" h="6858000">
                <a:moveTo>
                  <a:pt x="0" y="4045458"/>
                </a:moveTo>
                <a:lnTo>
                  <a:pt x="1624838" y="0"/>
                </a:lnTo>
                <a:lnTo>
                  <a:pt x="1624838" y="0"/>
                </a:lnTo>
                <a:lnTo>
                  <a:pt x="4615879" y="0"/>
                </a:lnTo>
                <a:lnTo>
                  <a:pt x="4615879" y="6858000"/>
                </a:lnTo>
                <a:lnTo>
                  <a:pt x="2445576" y="6858000"/>
                </a:lnTo>
                <a:lnTo>
                  <a:pt x="1286764" y="4045458"/>
                </a:lnTo>
                <a:lnTo>
                  <a:pt x="0" y="4045458"/>
                </a:lnTo>
                <a:close/>
              </a:path>
            </a:pathLst>
          </a:custGeom>
          <a:solidFill>
            <a:srgbClr val="4E644B"/>
          </a:solidFill>
          <a:ln w="6350" cap="flat">
            <a:noFill/>
            <a:prstDash val="solid"/>
            <a:miter/>
          </a:ln>
        </p:spPr>
        <p:txBody>
          <a:bodyPr rtlCol="0" anchor="ctr"/>
          <a:lstStyle/>
          <a:p>
            <a:endParaRPr lang="en-GB"/>
          </a:p>
        </p:txBody>
      </p:sp>
      <p:sp>
        <p:nvSpPr>
          <p:cNvPr id="16" name="Text Placeholder 8">
            <a:extLst>
              <a:ext uri="{FF2B5EF4-FFF2-40B4-BE49-F238E27FC236}">
                <a16:creationId xmlns:a16="http://schemas.microsoft.com/office/drawing/2014/main" id="{016A8881-4040-3859-B7BA-552F0EA43E67}"/>
              </a:ext>
            </a:extLst>
          </p:cNvPr>
          <p:cNvSpPr>
            <a:spLocks noGrp="1"/>
          </p:cNvSpPr>
          <p:nvPr>
            <p:ph type="body" sz="quarter" idx="12" hasCustomPrompt="1"/>
          </p:nvPr>
        </p:nvSpPr>
        <p:spPr>
          <a:xfrm>
            <a:off x="431800" y="4787900"/>
            <a:ext cx="2832100" cy="1636713"/>
          </a:xfrm>
        </p:spPr>
        <p:txBody>
          <a:bodyPr anchor="b" anchorCtr="0">
            <a:noAutofit/>
          </a:bodyPr>
          <a:lstStyle>
            <a:lvl1pPr marL="14288" indent="0">
              <a:lnSpc>
                <a:spcPts val="1800"/>
              </a:lnSpc>
              <a:spcBef>
                <a:spcPts val="0"/>
              </a:spcBef>
              <a:buFont typeface="Arial" panose="020B0604020202020204" pitchFamily="34" charset="0"/>
              <a:buNone/>
              <a:tabLst/>
              <a:defRPr sz="1400"/>
            </a:lvl1pPr>
            <a:lvl2pPr marL="14288" indent="0">
              <a:buFont typeface="Arial" panose="020B0604020202020204" pitchFamily="34" charset="0"/>
              <a:buNone/>
              <a:tabLst/>
              <a:defRPr/>
            </a:lvl2pPr>
            <a:lvl3pPr marL="14288" indent="0">
              <a:buFont typeface="Arial" panose="020B0604020202020204" pitchFamily="34" charset="0"/>
              <a:buNone/>
              <a:tabLst/>
              <a:defRPr/>
            </a:lvl3pPr>
            <a:lvl4pPr marL="14288" indent="0">
              <a:buFont typeface="Arial" panose="020B0604020202020204" pitchFamily="34" charset="0"/>
              <a:buNone/>
              <a:tabLst/>
              <a:defRPr/>
            </a:lvl4pPr>
            <a:lvl5pPr marL="14288" indent="0">
              <a:buFont typeface="Arial" panose="020B0604020202020204" pitchFamily="34" charset="0"/>
              <a:buNone/>
              <a:tabLst/>
              <a:defRPr/>
            </a:lvl5pPr>
          </a:lstStyle>
          <a:p>
            <a:pPr lvl="0"/>
            <a:r>
              <a:rPr lang="en-GB" err="1"/>
              <a:t>Kontaktinfo</a:t>
            </a:r>
            <a:endParaRPr lang="en-GB"/>
          </a:p>
        </p:txBody>
      </p:sp>
      <p:grpSp>
        <p:nvGrpSpPr>
          <p:cNvPr id="28" name="Gruppe 27">
            <a:extLst>
              <a:ext uri="{FF2B5EF4-FFF2-40B4-BE49-F238E27FC236}">
                <a16:creationId xmlns:a16="http://schemas.microsoft.com/office/drawing/2014/main" id="{18E6D9E5-C0E1-1058-D232-DF2D340DF068}"/>
              </a:ext>
            </a:extLst>
          </p:cNvPr>
          <p:cNvGrpSpPr/>
          <p:nvPr/>
        </p:nvGrpSpPr>
        <p:grpSpPr>
          <a:xfrm>
            <a:off x="10833681" y="6183249"/>
            <a:ext cx="241300" cy="241364"/>
            <a:chOff x="10052209" y="5843067"/>
            <a:chExt cx="241300" cy="241364"/>
          </a:xfrm>
        </p:grpSpPr>
        <p:sp>
          <p:nvSpPr>
            <p:cNvPr id="22" name="Kombinationstegning: figur 21">
              <a:hlinkClick r:id="rId4"/>
              <a:extLst>
                <a:ext uri="{FF2B5EF4-FFF2-40B4-BE49-F238E27FC236}">
                  <a16:creationId xmlns:a16="http://schemas.microsoft.com/office/drawing/2014/main" id="{C37CEB69-7BD2-9B2B-4D0D-7FD635AC4BAC}"/>
                </a:ext>
              </a:extLst>
            </p:cNvPr>
            <p:cNvSpPr/>
            <p:nvPr/>
          </p:nvSpPr>
          <p:spPr>
            <a:xfrm>
              <a:off x="10052209" y="5843067"/>
              <a:ext cx="241300" cy="241300"/>
            </a:xfrm>
            <a:custGeom>
              <a:avLst/>
              <a:gdLst>
                <a:gd name="connsiteX0" fmla="*/ 120650 w 241300"/>
                <a:gd name="connsiteY0" fmla="*/ 0 h 241300"/>
                <a:gd name="connsiteX1" fmla="*/ 0 w 241300"/>
                <a:gd name="connsiteY1" fmla="*/ 120650 h 241300"/>
                <a:gd name="connsiteX2" fmla="*/ 120650 w 241300"/>
                <a:gd name="connsiteY2" fmla="*/ 241300 h 241300"/>
                <a:gd name="connsiteX3" fmla="*/ 241300 w 241300"/>
                <a:gd name="connsiteY3" fmla="*/ 120650 h 241300"/>
                <a:gd name="connsiteX4" fmla="*/ 120650 w 241300"/>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00" h="241300">
                  <a:moveTo>
                    <a:pt x="120650" y="0"/>
                  </a:moveTo>
                  <a:cubicBezTo>
                    <a:pt x="54039" y="0"/>
                    <a:pt x="0" y="54039"/>
                    <a:pt x="0" y="120650"/>
                  </a:cubicBezTo>
                  <a:cubicBezTo>
                    <a:pt x="0" y="187261"/>
                    <a:pt x="54039" y="241300"/>
                    <a:pt x="120650" y="241300"/>
                  </a:cubicBezTo>
                  <a:cubicBezTo>
                    <a:pt x="187262" y="241300"/>
                    <a:pt x="241300" y="187261"/>
                    <a:pt x="241300" y="120650"/>
                  </a:cubicBezTo>
                  <a:cubicBezTo>
                    <a:pt x="241300" y="54039"/>
                    <a:pt x="187262" y="0"/>
                    <a:pt x="120650" y="0"/>
                  </a:cubicBezTo>
                  <a:close/>
                </a:path>
              </a:pathLst>
            </a:custGeom>
            <a:solidFill>
              <a:srgbClr val="66F58A"/>
            </a:solidFill>
            <a:ln w="6350" cap="flat">
              <a:noFill/>
              <a:prstDash val="solid"/>
              <a:miter/>
            </a:ln>
          </p:spPr>
          <p:txBody>
            <a:bodyPr rtlCol="0" anchor="ctr"/>
            <a:lstStyle/>
            <a:p>
              <a:endParaRPr lang="en-GB"/>
            </a:p>
          </p:txBody>
        </p:sp>
        <p:sp>
          <p:nvSpPr>
            <p:cNvPr id="23" name="Kombinationstegning: figur 22">
              <a:extLst>
                <a:ext uri="{FF2B5EF4-FFF2-40B4-BE49-F238E27FC236}">
                  <a16:creationId xmlns:a16="http://schemas.microsoft.com/office/drawing/2014/main" id="{B410E2D7-E062-3D1E-1437-1AD9E475F7AD}"/>
                </a:ext>
              </a:extLst>
            </p:cNvPr>
            <p:cNvSpPr/>
            <p:nvPr/>
          </p:nvSpPr>
          <p:spPr>
            <a:xfrm>
              <a:off x="10124980" y="5892598"/>
              <a:ext cx="100647" cy="191833"/>
            </a:xfrm>
            <a:custGeom>
              <a:avLst/>
              <a:gdLst>
                <a:gd name="connsiteX0" fmla="*/ 64199 w 100647"/>
                <a:gd name="connsiteY0" fmla="*/ 103124 h 191833"/>
                <a:gd name="connsiteX1" fmla="*/ 95440 w 100647"/>
                <a:gd name="connsiteY1" fmla="*/ 103124 h 191833"/>
                <a:gd name="connsiteX2" fmla="*/ 100330 w 100647"/>
                <a:gd name="connsiteY2" fmla="*/ 71437 h 191833"/>
                <a:gd name="connsiteX3" fmla="*/ 64199 w 100647"/>
                <a:gd name="connsiteY3" fmla="*/ 71437 h 191833"/>
                <a:gd name="connsiteX4" fmla="*/ 64199 w 100647"/>
                <a:gd name="connsiteY4" fmla="*/ 54102 h 191833"/>
                <a:gd name="connsiteX5" fmla="*/ 80835 w 100647"/>
                <a:gd name="connsiteY5" fmla="*/ 29210 h 191833"/>
                <a:gd name="connsiteX6" fmla="*/ 100647 w 100647"/>
                <a:gd name="connsiteY6" fmla="*/ 29210 h 191833"/>
                <a:gd name="connsiteX7" fmla="*/ 100647 w 100647"/>
                <a:gd name="connsiteY7" fmla="*/ 1524 h 191833"/>
                <a:gd name="connsiteX8" fmla="*/ 75882 w 100647"/>
                <a:gd name="connsiteY8" fmla="*/ 0 h 191833"/>
                <a:gd name="connsiteX9" fmla="*/ 29845 w 100647"/>
                <a:gd name="connsiteY9" fmla="*/ 50292 h 191833"/>
                <a:gd name="connsiteX10" fmla="*/ 29845 w 100647"/>
                <a:gd name="connsiteY10" fmla="*/ 71374 h 191833"/>
                <a:gd name="connsiteX11" fmla="*/ 0 w 100647"/>
                <a:gd name="connsiteY11" fmla="*/ 71374 h 191833"/>
                <a:gd name="connsiteX12" fmla="*/ 0 w 100647"/>
                <a:gd name="connsiteY12" fmla="*/ 103124 h 191833"/>
                <a:gd name="connsiteX13" fmla="*/ 29845 w 100647"/>
                <a:gd name="connsiteY13" fmla="*/ 103124 h 191833"/>
                <a:gd name="connsiteX14" fmla="*/ 29845 w 100647"/>
                <a:gd name="connsiteY14" fmla="*/ 190309 h 191833"/>
                <a:gd name="connsiteX15" fmla="*/ 47879 w 100647"/>
                <a:gd name="connsiteY15" fmla="*/ 191834 h 191833"/>
                <a:gd name="connsiteX16" fmla="*/ 64199 w 100647"/>
                <a:gd name="connsiteY16" fmla="*/ 190627 h 191833"/>
                <a:gd name="connsiteX17" fmla="*/ 64199 w 100647"/>
                <a:gd name="connsiteY17" fmla="*/ 103187 h 19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647" h="191833">
                  <a:moveTo>
                    <a:pt x="64199" y="103124"/>
                  </a:moveTo>
                  <a:lnTo>
                    <a:pt x="95440" y="103124"/>
                  </a:lnTo>
                  <a:lnTo>
                    <a:pt x="100330" y="71437"/>
                  </a:lnTo>
                  <a:lnTo>
                    <a:pt x="64199" y="71437"/>
                  </a:lnTo>
                  <a:lnTo>
                    <a:pt x="64199" y="54102"/>
                  </a:lnTo>
                  <a:cubicBezTo>
                    <a:pt x="64199" y="40894"/>
                    <a:pt x="68516" y="29210"/>
                    <a:pt x="80835" y="29210"/>
                  </a:cubicBezTo>
                  <a:lnTo>
                    <a:pt x="100647" y="29210"/>
                  </a:lnTo>
                  <a:lnTo>
                    <a:pt x="100647" y="1524"/>
                  </a:lnTo>
                  <a:cubicBezTo>
                    <a:pt x="97155" y="1079"/>
                    <a:pt x="89789" y="0"/>
                    <a:pt x="75882" y="0"/>
                  </a:cubicBezTo>
                  <a:cubicBezTo>
                    <a:pt x="46863" y="0"/>
                    <a:pt x="29845" y="15303"/>
                    <a:pt x="29845" y="50292"/>
                  </a:cubicBezTo>
                  <a:lnTo>
                    <a:pt x="29845" y="71374"/>
                  </a:lnTo>
                  <a:lnTo>
                    <a:pt x="0" y="71374"/>
                  </a:lnTo>
                  <a:lnTo>
                    <a:pt x="0" y="103124"/>
                  </a:lnTo>
                  <a:lnTo>
                    <a:pt x="29845" y="103124"/>
                  </a:lnTo>
                  <a:lnTo>
                    <a:pt x="29845" y="190309"/>
                  </a:lnTo>
                  <a:cubicBezTo>
                    <a:pt x="35750" y="191198"/>
                    <a:pt x="41720" y="191834"/>
                    <a:pt x="47879" y="191834"/>
                  </a:cubicBezTo>
                  <a:cubicBezTo>
                    <a:pt x="53467" y="191834"/>
                    <a:pt x="58864" y="191325"/>
                    <a:pt x="64199" y="190627"/>
                  </a:cubicBezTo>
                  <a:lnTo>
                    <a:pt x="64199" y="103187"/>
                  </a:lnTo>
                  <a:close/>
                </a:path>
              </a:pathLst>
            </a:custGeom>
            <a:solidFill>
              <a:schemeClr val="accent3"/>
            </a:solidFill>
            <a:ln w="6350" cap="flat">
              <a:noFill/>
              <a:prstDash val="solid"/>
              <a:miter/>
            </a:ln>
          </p:spPr>
          <p:txBody>
            <a:bodyPr rtlCol="0" anchor="ctr"/>
            <a:lstStyle/>
            <a:p>
              <a:endParaRPr lang="en-GB"/>
            </a:p>
          </p:txBody>
        </p:sp>
      </p:grpSp>
      <p:sp>
        <p:nvSpPr>
          <p:cNvPr id="24" name="Kombinationstegning: figur 23">
            <a:hlinkClick r:id="rId5"/>
            <a:extLst>
              <a:ext uri="{FF2B5EF4-FFF2-40B4-BE49-F238E27FC236}">
                <a16:creationId xmlns:a16="http://schemas.microsoft.com/office/drawing/2014/main" id="{4F904380-2BF0-4EDA-06BD-416E5752E399}"/>
              </a:ext>
            </a:extLst>
          </p:cNvPr>
          <p:cNvSpPr/>
          <p:nvPr/>
        </p:nvSpPr>
        <p:spPr>
          <a:xfrm>
            <a:off x="11548025" y="6253327"/>
            <a:ext cx="228600" cy="184213"/>
          </a:xfrm>
          <a:custGeom>
            <a:avLst/>
            <a:gdLst>
              <a:gd name="connsiteX0" fmla="*/ 228600 w 228600"/>
              <a:gd name="connsiteY0" fmla="*/ 21781 h 184213"/>
              <a:gd name="connsiteX1" fmla="*/ 201613 w 228600"/>
              <a:gd name="connsiteY1" fmla="*/ 29147 h 184213"/>
              <a:gd name="connsiteX2" fmla="*/ 222250 w 228600"/>
              <a:gd name="connsiteY2" fmla="*/ 3366 h 184213"/>
              <a:gd name="connsiteX3" fmla="*/ 192468 w 228600"/>
              <a:gd name="connsiteY3" fmla="*/ 14669 h 184213"/>
              <a:gd name="connsiteX4" fmla="*/ 158306 w 228600"/>
              <a:gd name="connsiteY4" fmla="*/ 0 h 184213"/>
              <a:gd name="connsiteX5" fmla="*/ 111379 w 228600"/>
              <a:gd name="connsiteY5" fmla="*/ 46482 h 184213"/>
              <a:gd name="connsiteX6" fmla="*/ 112585 w 228600"/>
              <a:gd name="connsiteY6" fmla="*/ 57087 h 184213"/>
              <a:gd name="connsiteX7" fmla="*/ 15939 w 228600"/>
              <a:gd name="connsiteY7" fmla="*/ 8509 h 184213"/>
              <a:gd name="connsiteX8" fmla="*/ 9589 w 228600"/>
              <a:gd name="connsiteY8" fmla="*/ 31941 h 184213"/>
              <a:gd name="connsiteX9" fmla="*/ 30417 w 228600"/>
              <a:gd name="connsiteY9" fmla="*/ 70676 h 184213"/>
              <a:gd name="connsiteX10" fmla="*/ 9144 w 228600"/>
              <a:gd name="connsiteY10" fmla="*/ 64897 h 184213"/>
              <a:gd name="connsiteX11" fmla="*/ 9144 w 228600"/>
              <a:gd name="connsiteY11" fmla="*/ 65469 h 184213"/>
              <a:gd name="connsiteX12" fmla="*/ 46736 w 228600"/>
              <a:gd name="connsiteY12" fmla="*/ 111061 h 184213"/>
              <a:gd name="connsiteX13" fmla="*/ 34417 w 228600"/>
              <a:gd name="connsiteY13" fmla="*/ 112713 h 184213"/>
              <a:gd name="connsiteX14" fmla="*/ 25590 w 228600"/>
              <a:gd name="connsiteY14" fmla="*/ 111824 h 184213"/>
              <a:gd name="connsiteX15" fmla="*/ 69406 w 228600"/>
              <a:gd name="connsiteY15" fmla="*/ 144145 h 184213"/>
              <a:gd name="connsiteX16" fmla="*/ 11176 w 228600"/>
              <a:gd name="connsiteY16" fmla="*/ 164021 h 184213"/>
              <a:gd name="connsiteX17" fmla="*/ 0 w 228600"/>
              <a:gd name="connsiteY17" fmla="*/ 163386 h 184213"/>
              <a:gd name="connsiteX18" fmla="*/ 71882 w 228600"/>
              <a:gd name="connsiteY18" fmla="*/ 184214 h 184213"/>
              <a:gd name="connsiteX19" fmla="*/ 205359 w 228600"/>
              <a:gd name="connsiteY19" fmla="*/ 51943 h 184213"/>
              <a:gd name="connsiteX20" fmla="*/ 205168 w 228600"/>
              <a:gd name="connsiteY20" fmla="*/ 45974 h 184213"/>
              <a:gd name="connsiteX21" fmla="*/ 228600 w 228600"/>
              <a:gd name="connsiteY21" fmla="*/ 21908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184213">
                <a:moveTo>
                  <a:pt x="228600" y="21781"/>
                </a:moveTo>
                <a:cubicBezTo>
                  <a:pt x="220218" y="25527"/>
                  <a:pt x="211138" y="28004"/>
                  <a:pt x="201613" y="29147"/>
                </a:cubicBezTo>
                <a:cubicBezTo>
                  <a:pt x="211328" y="23368"/>
                  <a:pt x="218757" y="14224"/>
                  <a:pt x="222250" y="3366"/>
                </a:cubicBezTo>
                <a:cubicBezTo>
                  <a:pt x="213170" y="8700"/>
                  <a:pt x="203137" y="12573"/>
                  <a:pt x="192468" y="14669"/>
                </a:cubicBezTo>
                <a:cubicBezTo>
                  <a:pt x="183960" y="5651"/>
                  <a:pt x="171768" y="0"/>
                  <a:pt x="158306" y="0"/>
                </a:cubicBezTo>
                <a:cubicBezTo>
                  <a:pt x="132398" y="0"/>
                  <a:pt x="111379" y="20828"/>
                  <a:pt x="111379" y="46482"/>
                </a:cubicBezTo>
                <a:cubicBezTo>
                  <a:pt x="111379" y="50101"/>
                  <a:pt x="111824" y="53658"/>
                  <a:pt x="112585" y="57087"/>
                </a:cubicBezTo>
                <a:cubicBezTo>
                  <a:pt x="73596" y="55118"/>
                  <a:pt x="39053" y="36576"/>
                  <a:pt x="15939" y="8509"/>
                </a:cubicBezTo>
                <a:cubicBezTo>
                  <a:pt x="11875" y="15367"/>
                  <a:pt x="9589" y="23432"/>
                  <a:pt x="9589" y="31941"/>
                </a:cubicBezTo>
                <a:cubicBezTo>
                  <a:pt x="9589" y="48070"/>
                  <a:pt x="17843" y="62294"/>
                  <a:pt x="30417" y="70676"/>
                </a:cubicBezTo>
                <a:cubicBezTo>
                  <a:pt x="22733" y="70422"/>
                  <a:pt x="15494" y="68326"/>
                  <a:pt x="9144" y="64897"/>
                </a:cubicBezTo>
                <a:lnTo>
                  <a:pt x="9144" y="65469"/>
                </a:lnTo>
                <a:cubicBezTo>
                  <a:pt x="9144" y="88011"/>
                  <a:pt x="25337" y="106807"/>
                  <a:pt x="46736" y="111061"/>
                </a:cubicBezTo>
                <a:cubicBezTo>
                  <a:pt x="42799" y="112141"/>
                  <a:pt x="38671" y="112713"/>
                  <a:pt x="34417" y="112713"/>
                </a:cubicBezTo>
                <a:cubicBezTo>
                  <a:pt x="31369" y="112713"/>
                  <a:pt x="28448" y="112395"/>
                  <a:pt x="25590" y="111824"/>
                </a:cubicBezTo>
                <a:cubicBezTo>
                  <a:pt x="31560" y="130239"/>
                  <a:pt x="48895" y="143700"/>
                  <a:pt x="69406" y="144145"/>
                </a:cubicBezTo>
                <a:cubicBezTo>
                  <a:pt x="53340" y="156591"/>
                  <a:pt x="33147" y="164021"/>
                  <a:pt x="11176" y="164021"/>
                </a:cubicBezTo>
                <a:cubicBezTo>
                  <a:pt x="7366" y="164021"/>
                  <a:pt x="3683" y="163830"/>
                  <a:pt x="0" y="163386"/>
                </a:cubicBezTo>
                <a:cubicBezTo>
                  <a:pt x="20765" y="176530"/>
                  <a:pt x="45403" y="184214"/>
                  <a:pt x="71882" y="184214"/>
                </a:cubicBezTo>
                <a:cubicBezTo>
                  <a:pt x="158115" y="184214"/>
                  <a:pt x="205359" y="113347"/>
                  <a:pt x="205359" y="51943"/>
                </a:cubicBezTo>
                <a:cubicBezTo>
                  <a:pt x="205359" y="49911"/>
                  <a:pt x="205359" y="47943"/>
                  <a:pt x="205168" y="45974"/>
                </a:cubicBezTo>
                <a:cubicBezTo>
                  <a:pt x="214376" y="39497"/>
                  <a:pt x="222314" y="31242"/>
                  <a:pt x="228600" y="21908"/>
                </a:cubicBezTo>
              </a:path>
            </a:pathLst>
          </a:custGeom>
          <a:solidFill>
            <a:srgbClr val="66F58A"/>
          </a:solidFill>
          <a:ln w="6350" cap="flat">
            <a:noFill/>
            <a:prstDash val="solid"/>
            <a:miter/>
          </a:ln>
        </p:spPr>
        <p:txBody>
          <a:bodyPr rtlCol="0" anchor="ctr"/>
          <a:lstStyle/>
          <a:p>
            <a:endParaRPr lang="en-GB"/>
          </a:p>
        </p:txBody>
      </p:sp>
      <p:grpSp>
        <p:nvGrpSpPr>
          <p:cNvPr id="27" name="Gruppe 26">
            <a:extLst>
              <a:ext uri="{FF2B5EF4-FFF2-40B4-BE49-F238E27FC236}">
                <a16:creationId xmlns:a16="http://schemas.microsoft.com/office/drawing/2014/main" id="{B94408EB-0729-DED2-D6A1-4A8D6860206F}"/>
              </a:ext>
            </a:extLst>
          </p:cNvPr>
          <p:cNvGrpSpPr/>
          <p:nvPr/>
        </p:nvGrpSpPr>
        <p:grpSpPr>
          <a:xfrm>
            <a:off x="11197203" y="6196013"/>
            <a:ext cx="228600" cy="228600"/>
            <a:chOff x="11263345" y="5849417"/>
            <a:chExt cx="228600" cy="228600"/>
          </a:xfrm>
        </p:grpSpPr>
        <p:sp>
          <p:nvSpPr>
            <p:cNvPr id="25" name="Kombinationstegning: figur 24">
              <a:hlinkClick r:id="rId6"/>
              <a:extLst>
                <a:ext uri="{FF2B5EF4-FFF2-40B4-BE49-F238E27FC236}">
                  <a16:creationId xmlns:a16="http://schemas.microsoft.com/office/drawing/2014/main" id="{5C338E6B-92B7-EF04-3879-56F1CC8AF8F5}"/>
                </a:ext>
              </a:extLst>
            </p:cNvPr>
            <p:cNvSpPr/>
            <p:nvPr/>
          </p:nvSpPr>
          <p:spPr>
            <a:xfrm>
              <a:off x="11263345" y="5849417"/>
              <a:ext cx="228600" cy="228600"/>
            </a:xfrm>
            <a:custGeom>
              <a:avLst/>
              <a:gdLst>
                <a:gd name="connsiteX0" fmla="*/ 228600 w 228600"/>
                <a:gd name="connsiteY0" fmla="*/ 196850 h 228600"/>
                <a:gd name="connsiteX1" fmla="*/ 196850 w 228600"/>
                <a:gd name="connsiteY1" fmla="*/ 228600 h 228600"/>
                <a:gd name="connsiteX2" fmla="*/ 31750 w 228600"/>
                <a:gd name="connsiteY2" fmla="*/ 228600 h 228600"/>
                <a:gd name="connsiteX3" fmla="*/ 0 w 228600"/>
                <a:gd name="connsiteY3" fmla="*/ 196850 h 228600"/>
                <a:gd name="connsiteX4" fmla="*/ 0 w 228600"/>
                <a:gd name="connsiteY4" fmla="*/ 31750 h 228600"/>
                <a:gd name="connsiteX5" fmla="*/ 31750 w 228600"/>
                <a:gd name="connsiteY5" fmla="*/ 0 h 228600"/>
                <a:gd name="connsiteX6" fmla="*/ 196850 w 228600"/>
                <a:gd name="connsiteY6" fmla="*/ 0 h 228600"/>
                <a:gd name="connsiteX7" fmla="*/ 228600 w 228600"/>
                <a:gd name="connsiteY7" fmla="*/ 31750 h 228600"/>
                <a:gd name="connsiteX8" fmla="*/ 228600 w 228600"/>
                <a:gd name="connsiteY8" fmla="*/ 1968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228600">
                  <a:moveTo>
                    <a:pt x="228600" y="196850"/>
                  </a:moveTo>
                  <a:cubicBezTo>
                    <a:pt x="228600" y="214376"/>
                    <a:pt x="214376" y="228600"/>
                    <a:pt x="196850" y="228600"/>
                  </a:cubicBezTo>
                  <a:lnTo>
                    <a:pt x="31750" y="228600"/>
                  </a:lnTo>
                  <a:cubicBezTo>
                    <a:pt x="14224" y="228600"/>
                    <a:pt x="0" y="214376"/>
                    <a:pt x="0" y="196850"/>
                  </a:cubicBezTo>
                  <a:lnTo>
                    <a:pt x="0" y="31750"/>
                  </a:lnTo>
                  <a:cubicBezTo>
                    <a:pt x="0" y="14224"/>
                    <a:pt x="14224" y="0"/>
                    <a:pt x="31750" y="0"/>
                  </a:cubicBezTo>
                  <a:lnTo>
                    <a:pt x="196850" y="0"/>
                  </a:lnTo>
                  <a:cubicBezTo>
                    <a:pt x="214376" y="0"/>
                    <a:pt x="228600" y="14224"/>
                    <a:pt x="228600" y="31750"/>
                  </a:cubicBezTo>
                  <a:lnTo>
                    <a:pt x="228600" y="196850"/>
                  </a:lnTo>
                  <a:close/>
                </a:path>
              </a:pathLst>
            </a:custGeom>
            <a:solidFill>
              <a:srgbClr val="66F58A"/>
            </a:solidFill>
            <a:ln w="6350" cap="flat">
              <a:noFill/>
              <a:prstDash val="solid"/>
              <a:miter/>
            </a:ln>
          </p:spPr>
          <p:txBody>
            <a:bodyPr rtlCol="0" anchor="ctr"/>
            <a:lstStyle/>
            <a:p>
              <a:endParaRPr lang="en-GB"/>
            </a:p>
          </p:txBody>
        </p:sp>
        <p:sp>
          <p:nvSpPr>
            <p:cNvPr id="26" name="Kombinationstegning: figur 25">
              <a:extLst>
                <a:ext uri="{FF2B5EF4-FFF2-40B4-BE49-F238E27FC236}">
                  <a16:creationId xmlns:a16="http://schemas.microsoft.com/office/drawing/2014/main" id="{714E625B-CCD7-5940-A293-7C3A7C355368}"/>
                </a:ext>
              </a:extLst>
            </p:cNvPr>
            <p:cNvSpPr/>
            <p:nvPr/>
          </p:nvSpPr>
          <p:spPr>
            <a:xfrm>
              <a:off x="11301381" y="5887517"/>
              <a:ext cx="152463" cy="152400"/>
            </a:xfrm>
            <a:custGeom>
              <a:avLst/>
              <a:gdLst>
                <a:gd name="connsiteX0" fmla="*/ 64 w 152463"/>
                <a:gd name="connsiteY0" fmla="*/ 44450 h 152400"/>
                <a:gd name="connsiteX1" fmla="*/ 31814 w 152463"/>
                <a:gd name="connsiteY1" fmla="*/ 44450 h 152400"/>
                <a:gd name="connsiteX2" fmla="*/ 31814 w 152463"/>
                <a:gd name="connsiteY2" fmla="*/ 152400 h 152400"/>
                <a:gd name="connsiteX3" fmla="*/ 64 w 152463"/>
                <a:gd name="connsiteY3" fmla="*/ 152400 h 152400"/>
                <a:gd name="connsiteX4" fmla="*/ 64 w 152463"/>
                <a:gd name="connsiteY4" fmla="*/ 44450 h 152400"/>
                <a:gd name="connsiteX5" fmla="*/ 15811 w 152463"/>
                <a:gd name="connsiteY5" fmla="*/ 31750 h 152400"/>
                <a:gd name="connsiteX6" fmla="*/ 15621 w 152463"/>
                <a:gd name="connsiteY6" fmla="*/ 31750 h 152400"/>
                <a:gd name="connsiteX7" fmla="*/ 0 w 152463"/>
                <a:gd name="connsiteY7" fmla="*/ 15875 h 152400"/>
                <a:gd name="connsiteX8" fmla="*/ 15939 w 152463"/>
                <a:gd name="connsiteY8" fmla="*/ 0 h 152400"/>
                <a:gd name="connsiteX9" fmla="*/ 31750 w 152463"/>
                <a:gd name="connsiteY9" fmla="*/ 15875 h 152400"/>
                <a:gd name="connsiteX10" fmla="*/ 15748 w 152463"/>
                <a:gd name="connsiteY10" fmla="*/ 31750 h 152400"/>
                <a:gd name="connsiteX11" fmla="*/ 152464 w 152463"/>
                <a:gd name="connsiteY11" fmla="*/ 152400 h 152400"/>
                <a:gd name="connsiteX12" fmla="*/ 120714 w 152463"/>
                <a:gd name="connsiteY12" fmla="*/ 152400 h 152400"/>
                <a:gd name="connsiteX13" fmla="*/ 120714 w 152463"/>
                <a:gd name="connsiteY13" fmla="*/ 94615 h 152400"/>
                <a:gd name="connsiteX14" fmla="*/ 100457 w 152463"/>
                <a:gd name="connsiteY14" fmla="*/ 71120 h 152400"/>
                <a:gd name="connsiteX15" fmla="*/ 83249 w 152463"/>
                <a:gd name="connsiteY15" fmla="*/ 83757 h 152400"/>
                <a:gd name="connsiteX16" fmla="*/ 82614 w 152463"/>
                <a:gd name="connsiteY16" fmla="*/ 95250 h 152400"/>
                <a:gd name="connsiteX17" fmla="*/ 82614 w 152463"/>
                <a:gd name="connsiteY17" fmla="*/ 152400 h 152400"/>
                <a:gd name="connsiteX18" fmla="*/ 50864 w 152463"/>
                <a:gd name="connsiteY18" fmla="*/ 152400 h 152400"/>
                <a:gd name="connsiteX19" fmla="*/ 50864 w 152463"/>
                <a:gd name="connsiteY19" fmla="*/ 44450 h 152400"/>
                <a:gd name="connsiteX20" fmla="*/ 82614 w 152463"/>
                <a:gd name="connsiteY20" fmla="*/ 44450 h 152400"/>
                <a:gd name="connsiteX21" fmla="*/ 82614 w 152463"/>
                <a:gd name="connsiteY21" fmla="*/ 61087 h 152400"/>
                <a:gd name="connsiteX22" fmla="*/ 112713 w 152463"/>
                <a:gd name="connsiteY22" fmla="*/ 44450 h 152400"/>
                <a:gd name="connsiteX23" fmla="*/ 152464 w 152463"/>
                <a:gd name="connsiteY23" fmla="*/ 90614 h 152400"/>
                <a:gd name="connsiteX24" fmla="*/ 152464 w 152463"/>
                <a:gd name="connsiteY24" fmla="*/ 152400 h 152400"/>
                <a:gd name="connsiteX25" fmla="*/ 152464 w 152463"/>
                <a:gd name="connsiteY25"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463" h="152400">
                  <a:moveTo>
                    <a:pt x="64" y="44450"/>
                  </a:moveTo>
                  <a:lnTo>
                    <a:pt x="31814" y="44450"/>
                  </a:lnTo>
                  <a:lnTo>
                    <a:pt x="31814" y="152400"/>
                  </a:lnTo>
                  <a:lnTo>
                    <a:pt x="64" y="152400"/>
                  </a:lnTo>
                  <a:lnTo>
                    <a:pt x="64" y="44450"/>
                  </a:lnTo>
                  <a:close/>
                  <a:moveTo>
                    <a:pt x="15811" y="31750"/>
                  </a:moveTo>
                  <a:lnTo>
                    <a:pt x="15621" y="31750"/>
                  </a:lnTo>
                  <a:cubicBezTo>
                    <a:pt x="6160" y="31750"/>
                    <a:pt x="0" y="24701"/>
                    <a:pt x="0" y="15875"/>
                  </a:cubicBezTo>
                  <a:cubicBezTo>
                    <a:pt x="0" y="7049"/>
                    <a:pt x="6286" y="0"/>
                    <a:pt x="15939" y="0"/>
                  </a:cubicBezTo>
                  <a:cubicBezTo>
                    <a:pt x="25590" y="0"/>
                    <a:pt x="31560" y="6858"/>
                    <a:pt x="31750" y="15875"/>
                  </a:cubicBezTo>
                  <a:cubicBezTo>
                    <a:pt x="31750" y="24701"/>
                    <a:pt x="25590" y="31750"/>
                    <a:pt x="15748" y="31750"/>
                  </a:cubicBezTo>
                  <a:close/>
                  <a:moveTo>
                    <a:pt x="152464" y="152400"/>
                  </a:moveTo>
                  <a:lnTo>
                    <a:pt x="120714" y="152400"/>
                  </a:lnTo>
                  <a:lnTo>
                    <a:pt x="120714" y="94615"/>
                  </a:lnTo>
                  <a:cubicBezTo>
                    <a:pt x="120714" y="80645"/>
                    <a:pt x="112903" y="71120"/>
                    <a:pt x="100457" y="71120"/>
                  </a:cubicBezTo>
                  <a:cubicBezTo>
                    <a:pt x="90932" y="71120"/>
                    <a:pt x="85789" y="77533"/>
                    <a:pt x="83249" y="83757"/>
                  </a:cubicBezTo>
                  <a:cubicBezTo>
                    <a:pt x="82360" y="85979"/>
                    <a:pt x="82614" y="92139"/>
                    <a:pt x="82614" y="95250"/>
                  </a:cubicBezTo>
                  <a:lnTo>
                    <a:pt x="82614" y="152400"/>
                  </a:lnTo>
                  <a:lnTo>
                    <a:pt x="50864" y="152400"/>
                  </a:lnTo>
                  <a:lnTo>
                    <a:pt x="50864" y="44450"/>
                  </a:lnTo>
                  <a:lnTo>
                    <a:pt x="82614" y="44450"/>
                  </a:lnTo>
                  <a:lnTo>
                    <a:pt x="82614" y="61087"/>
                  </a:lnTo>
                  <a:cubicBezTo>
                    <a:pt x="87186" y="53975"/>
                    <a:pt x="94361" y="44450"/>
                    <a:pt x="112713" y="44450"/>
                  </a:cubicBezTo>
                  <a:cubicBezTo>
                    <a:pt x="135446" y="44450"/>
                    <a:pt x="152464" y="58738"/>
                    <a:pt x="152464" y="90614"/>
                  </a:cubicBezTo>
                  <a:lnTo>
                    <a:pt x="152464" y="152400"/>
                  </a:lnTo>
                  <a:lnTo>
                    <a:pt x="152464" y="152400"/>
                  </a:lnTo>
                  <a:close/>
                </a:path>
              </a:pathLst>
            </a:custGeom>
            <a:solidFill>
              <a:schemeClr val="accent3"/>
            </a:solidFill>
            <a:ln w="6350" cap="flat">
              <a:noFill/>
              <a:prstDash val="solid"/>
              <a:miter/>
            </a:ln>
          </p:spPr>
          <p:txBody>
            <a:bodyPr rtlCol="0" anchor="ctr"/>
            <a:lstStyle/>
            <a:p>
              <a:endParaRPr lang="en-GB"/>
            </a:p>
          </p:txBody>
        </p:sp>
      </p:grpSp>
      <p:pic>
        <p:nvPicPr>
          <p:cNvPr id="5" name="Graphic 5">
            <a:extLst>
              <a:ext uri="{FF2B5EF4-FFF2-40B4-BE49-F238E27FC236}">
                <a16:creationId xmlns:a16="http://schemas.microsoft.com/office/drawing/2014/main" id="{7728AE3A-F973-C704-2C1B-2B75947693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07099" y="432000"/>
            <a:ext cx="734400" cy="378216"/>
          </a:xfrm>
          <a:prstGeom prst="rect">
            <a:avLst/>
          </a:prstGeom>
        </p:spPr>
      </p:pic>
    </p:spTree>
    <p:extLst>
      <p:ext uri="{BB962C8B-B14F-4D97-AF65-F5344CB8AC3E}">
        <p14:creationId xmlns:p14="http://schemas.microsoft.com/office/powerpoint/2010/main" val="10048161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Slut">
    <p:bg>
      <p:bgPr>
        <a:solidFill>
          <a:schemeClr val="accent5"/>
        </a:solidFill>
        <a:effectLst/>
      </p:bgPr>
    </p:bg>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9B2747D5-E389-D7DA-57B7-0F9317788D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16" name="Text Placeholder 8">
            <a:extLst>
              <a:ext uri="{FF2B5EF4-FFF2-40B4-BE49-F238E27FC236}">
                <a16:creationId xmlns:a16="http://schemas.microsoft.com/office/drawing/2014/main" id="{016A8881-4040-3859-B7BA-552F0EA43E67}"/>
              </a:ext>
            </a:extLst>
          </p:cNvPr>
          <p:cNvSpPr>
            <a:spLocks noGrp="1"/>
          </p:cNvSpPr>
          <p:nvPr>
            <p:ph type="body" sz="quarter" idx="12" hasCustomPrompt="1"/>
          </p:nvPr>
        </p:nvSpPr>
        <p:spPr>
          <a:xfrm>
            <a:off x="431800" y="4787900"/>
            <a:ext cx="2832100" cy="1636713"/>
          </a:xfrm>
        </p:spPr>
        <p:txBody>
          <a:bodyPr anchor="b" anchorCtr="0">
            <a:noAutofit/>
          </a:bodyPr>
          <a:lstStyle>
            <a:lvl1pPr marL="14288" indent="0">
              <a:lnSpc>
                <a:spcPts val="1800"/>
              </a:lnSpc>
              <a:spcBef>
                <a:spcPts val="0"/>
              </a:spcBef>
              <a:buFont typeface="Arial" panose="020B0604020202020204" pitchFamily="34" charset="0"/>
              <a:buNone/>
              <a:tabLst/>
              <a:defRPr sz="1400">
                <a:solidFill>
                  <a:schemeClr val="bg1"/>
                </a:solidFill>
              </a:defRPr>
            </a:lvl1pPr>
            <a:lvl2pPr marL="14288" indent="0">
              <a:buFont typeface="Arial" panose="020B0604020202020204" pitchFamily="34" charset="0"/>
              <a:buNone/>
              <a:tabLst/>
              <a:defRPr/>
            </a:lvl2pPr>
            <a:lvl3pPr marL="14288" indent="0">
              <a:buFont typeface="Arial" panose="020B0604020202020204" pitchFamily="34" charset="0"/>
              <a:buNone/>
              <a:tabLst/>
              <a:defRPr/>
            </a:lvl3pPr>
            <a:lvl4pPr marL="14288" indent="0">
              <a:buFont typeface="Arial" panose="020B0604020202020204" pitchFamily="34" charset="0"/>
              <a:buNone/>
              <a:tabLst/>
              <a:defRPr/>
            </a:lvl4pPr>
            <a:lvl5pPr marL="14288" indent="0">
              <a:buFont typeface="Arial" panose="020B0604020202020204" pitchFamily="34" charset="0"/>
              <a:buNone/>
              <a:tabLst/>
              <a:defRPr/>
            </a:lvl5pPr>
          </a:lstStyle>
          <a:p>
            <a:pPr lvl="0"/>
            <a:r>
              <a:rPr lang="en-GB" err="1"/>
              <a:t>Kontaktinfo</a:t>
            </a:r>
            <a:endParaRPr lang="en-GB"/>
          </a:p>
        </p:txBody>
      </p:sp>
      <p:grpSp>
        <p:nvGrpSpPr>
          <p:cNvPr id="28" name="Gruppe 27">
            <a:extLst>
              <a:ext uri="{FF2B5EF4-FFF2-40B4-BE49-F238E27FC236}">
                <a16:creationId xmlns:a16="http://schemas.microsoft.com/office/drawing/2014/main" id="{18E6D9E5-C0E1-1058-D232-DF2D340DF068}"/>
              </a:ext>
            </a:extLst>
          </p:cNvPr>
          <p:cNvGrpSpPr/>
          <p:nvPr/>
        </p:nvGrpSpPr>
        <p:grpSpPr>
          <a:xfrm>
            <a:off x="10833681" y="6183249"/>
            <a:ext cx="241300" cy="241364"/>
            <a:chOff x="10052209" y="5843067"/>
            <a:chExt cx="241300" cy="241364"/>
          </a:xfrm>
        </p:grpSpPr>
        <p:sp>
          <p:nvSpPr>
            <p:cNvPr id="22" name="Kombinationstegning: figur 21">
              <a:hlinkClick r:id="rId4"/>
              <a:extLst>
                <a:ext uri="{FF2B5EF4-FFF2-40B4-BE49-F238E27FC236}">
                  <a16:creationId xmlns:a16="http://schemas.microsoft.com/office/drawing/2014/main" id="{C37CEB69-7BD2-9B2B-4D0D-7FD635AC4BAC}"/>
                </a:ext>
              </a:extLst>
            </p:cNvPr>
            <p:cNvSpPr/>
            <p:nvPr/>
          </p:nvSpPr>
          <p:spPr>
            <a:xfrm>
              <a:off x="10052209" y="5843067"/>
              <a:ext cx="241300" cy="241300"/>
            </a:xfrm>
            <a:custGeom>
              <a:avLst/>
              <a:gdLst>
                <a:gd name="connsiteX0" fmla="*/ 120650 w 241300"/>
                <a:gd name="connsiteY0" fmla="*/ 0 h 241300"/>
                <a:gd name="connsiteX1" fmla="*/ 0 w 241300"/>
                <a:gd name="connsiteY1" fmla="*/ 120650 h 241300"/>
                <a:gd name="connsiteX2" fmla="*/ 120650 w 241300"/>
                <a:gd name="connsiteY2" fmla="*/ 241300 h 241300"/>
                <a:gd name="connsiteX3" fmla="*/ 241300 w 241300"/>
                <a:gd name="connsiteY3" fmla="*/ 120650 h 241300"/>
                <a:gd name="connsiteX4" fmla="*/ 120650 w 241300"/>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00" h="241300">
                  <a:moveTo>
                    <a:pt x="120650" y="0"/>
                  </a:moveTo>
                  <a:cubicBezTo>
                    <a:pt x="54039" y="0"/>
                    <a:pt x="0" y="54039"/>
                    <a:pt x="0" y="120650"/>
                  </a:cubicBezTo>
                  <a:cubicBezTo>
                    <a:pt x="0" y="187261"/>
                    <a:pt x="54039" y="241300"/>
                    <a:pt x="120650" y="241300"/>
                  </a:cubicBezTo>
                  <a:cubicBezTo>
                    <a:pt x="187262" y="241300"/>
                    <a:pt x="241300" y="187261"/>
                    <a:pt x="241300" y="120650"/>
                  </a:cubicBezTo>
                  <a:cubicBezTo>
                    <a:pt x="241300" y="54039"/>
                    <a:pt x="187262" y="0"/>
                    <a:pt x="120650" y="0"/>
                  </a:cubicBezTo>
                  <a:close/>
                </a:path>
              </a:pathLst>
            </a:custGeom>
            <a:solidFill>
              <a:srgbClr val="66F58A"/>
            </a:solidFill>
            <a:ln w="6350" cap="flat">
              <a:noFill/>
              <a:prstDash val="solid"/>
              <a:miter/>
            </a:ln>
          </p:spPr>
          <p:txBody>
            <a:bodyPr rtlCol="0" anchor="ctr"/>
            <a:lstStyle/>
            <a:p>
              <a:endParaRPr lang="en-GB"/>
            </a:p>
          </p:txBody>
        </p:sp>
        <p:sp>
          <p:nvSpPr>
            <p:cNvPr id="23" name="Kombinationstegning: figur 22">
              <a:extLst>
                <a:ext uri="{FF2B5EF4-FFF2-40B4-BE49-F238E27FC236}">
                  <a16:creationId xmlns:a16="http://schemas.microsoft.com/office/drawing/2014/main" id="{B410E2D7-E062-3D1E-1437-1AD9E475F7AD}"/>
                </a:ext>
              </a:extLst>
            </p:cNvPr>
            <p:cNvSpPr/>
            <p:nvPr/>
          </p:nvSpPr>
          <p:spPr>
            <a:xfrm>
              <a:off x="10124980" y="5892598"/>
              <a:ext cx="100647" cy="191833"/>
            </a:xfrm>
            <a:custGeom>
              <a:avLst/>
              <a:gdLst>
                <a:gd name="connsiteX0" fmla="*/ 64199 w 100647"/>
                <a:gd name="connsiteY0" fmla="*/ 103124 h 191833"/>
                <a:gd name="connsiteX1" fmla="*/ 95440 w 100647"/>
                <a:gd name="connsiteY1" fmla="*/ 103124 h 191833"/>
                <a:gd name="connsiteX2" fmla="*/ 100330 w 100647"/>
                <a:gd name="connsiteY2" fmla="*/ 71437 h 191833"/>
                <a:gd name="connsiteX3" fmla="*/ 64199 w 100647"/>
                <a:gd name="connsiteY3" fmla="*/ 71437 h 191833"/>
                <a:gd name="connsiteX4" fmla="*/ 64199 w 100647"/>
                <a:gd name="connsiteY4" fmla="*/ 54102 h 191833"/>
                <a:gd name="connsiteX5" fmla="*/ 80835 w 100647"/>
                <a:gd name="connsiteY5" fmla="*/ 29210 h 191833"/>
                <a:gd name="connsiteX6" fmla="*/ 100647 w 100647"/>
                <a:gd name="connsiteY6" fmla="*/ 29210 h 191833"/>
                <a:gd name="connsiteX7" fmla="*/ 100647 w 100647"/>
                <a:gd name="connsiteY7" fmla="*/ 1524 h 191833"/>
                <a:gd name="connsiteX8" fmla="*/ 75882 w 100647"/>
                <a:gd name="connsiteY8" fmla="*/ 0 h 191833"/>
                <a:gd name="connsiteX9" fmla="*/ 29845 w 100647"/>
                <a:gd name="connsiteY9" fmla="*/ 50292 h 191833"/>
                <a:gd name="connsiteX10" fmla="*/ 29845 w 100647"/>
                <a:gd name="connsiteY10" fmla="*/ 71374 h 191833"/>
                <a:gd name="connsiteX11" fmla="*/ 0 w 100647"/>
                <a:gd name="connsiteY11" fmla="*/ 71374 h 191833"/>
                <a:gd name="connsiteX12" fmla="*/ 0 w 100647"/>
                <a:gd name="connsiteY12" fmla="*/ 103124 h 191833"/>
                <a:gd name="connsiteX13" fmla="*/ 29845 w 100647"/>
                <a:gd name="connsiteY13" fmla="*/ 103124 h 191833"/>
                <a:gd name="connsiteX14" fmla="*/ 29845 w 100647"/>
                <a:gd name="connsiteY14" fmla="*/ 190309 h 191833"/>
                <a:gd name="connsiteX15" fmla="*/ 47879 w 100647"/>
                <a:gd name="connsiteY15" fmla="*/ 191834 h 191833"/>
                <a:gd name="connsiteX16" fmla="*/ 64199 w 100647"/>
                <a:gd name="connsiteY16" fmla="*/ 190627 h 191833"/>
                <a:gd name="connsiteX17" fmla="*/ 64199 w 100647"/>
                <a:gd name="connsiteY17" fmla="*/ 103187 h 19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647" h="191833">
                  <a:moveTo>
                    <a:pt x="64199" y="103124"/>
                  </a:moveTo>
                  <a:lnTo>
                    <a:pt x="95440" y="103124"/>
                  </a:lnTo>
                  <a:lnTo>
                    <a:pt x="100330" y="71437"/>
                  </a:lnTo>
                  <a:lnTo>
                    <a:pt x="64199" y="71437"/>
                  </a:lnTo>
                  <a:lnTo>
                    <a:pt x="64199" y="54102"/>
                  </a:lnTo>
                  <a:cubicBezTo>
                    <a:pt x="64199" y="40894"/>
                    <a:pt x="68516" y="29210"/>
                    <a:pt x="80835" y="29210"/>
                  </a:cubicBezTo>
                  <a:lnTo>
                    <a:pt x="100647" y="29210"/>
                  </a:lnTo>
                  <a:lnTo>
                    <a:pt x="100647" y="1524"/>
                  </a:lnTo>
                  <a:cubicBezTo>
                    <a:pt x="97155" y="1079"/>
                    <a:pt x="89789" y="0"/>
                    <a:pt x="75882" y="0"/>
                  </a:cubicBezTo>
                  <a:cubicBezTo>
                    <a:pt x="46863" y="0"/>
                    <a:pt x="29845" y="15303"/>
                    <a:pt x="29845" y="50292"/>
                  </a:cubicBezTo>
                  <a:lnTo>
                    <a:pt x="29845" y="71374"/>
                  </a:lnTo>
                  <a:lnTo>
                    <a:pt x="0" y="71374"/>
                  </a:lnTo>
                  <a:lnTo>
                    <a:pt x="0" y="103124"/>
                  </a:lnTo>
                  <a:lnTo>
                    <a:pt x="29845" y="103124"/>
                  </a:lnTo>
                  <a:lnTo>
                    <a:pt x="29845" y="190309"/>
                  </a:lnTo>
                  <a:cubicBezTo>
                    <a:pt x="35750" y="191198"/>
                    <a:pt x="41720" y="191834"/>
                    <a:pt x="47879" y="191834"/>
                  </a:cubicBezTo>
                  <a:cubicBezTo>
                    <a:pt x="53467" y="191834"/>
                    <a:pt x="58864" y="191325"/>
                    <a:pt x="64199" y="190627"/>
                  </a:cubicBezTo>
                  <a:lnTo>
                    <a:pt x="64199" y="103187"/>
                  </a:lnTo>
                  <a:close/>
                </a:path>
              </a:pathLst>
            </a:custGeom>
            <a:solidFill>
              <a:schemeClr val="accent3"/>
            </a:solidFill>
            <a:ln w="6350" cap="flat">
              <a:noFill/>
              <a:prstDash val="solid"/>
              <a:miter/>
            </a:ln>
          </p:spPr>
          <p:txBody>
            <a:bodyPr rtlCol="0" anchor="ctr"/>
            <a:lstStyle/>
            <a:p>
              <a:endParaRPr lang="en-GB"/>
            </a:p>
          </p:txBody>
        </p:sp>
      </p:grpSp>
      <p:sp>
        <p:nvSpPr>
          <p:cNvPr id="24" name="Kombinationstegning: figur 23">
            <a:hlinkClick r:id="rId5"/>
            <a:extLst>
              <a:ext uri="{FF2B5EF4-FFF2-40B4-BE49-F238E27FC236}">
                <a16:creationId xmlns:a16="http://schemas.microsoft.com/office/drawing/2014/main" id="{4F904380-2BF0-4EDA-06BD-416E5752E399}"/>
              </a:ext>
            </a:extLst>
          </p:cNvPr>
          <p:cNvSpPr/>
          <p:nvPr/>
        </p:nvSpPr>
        <p:spPr>
          <a:xfrm>
            <a:off x="11548025" y="6253327"/>
            <a:ext cx="228600" cy="184213"/>
          </a:xfrm>
          <a:custGeom>
            <a:avLst/>
            <a:gdLst>
              <a:gd name="connsiteX0" fmla="*/ 228600 w 228600"/>
              <a:gd name="connsiteY0" fmla="*/ 21781 h 184213"/>
              <a:gd name="connsiteX1" fmla="*/ 201613 w 228600"/>
              <a:gd name="connsiteY1" fmla="*/ 29147 h 184213"/>
              <a:gd name="connsiteX2" fmla="*/ 222250 w 228600"/>
              <a:gd name="connsiteY2" fmla="*/ 3366 h 184213"/>
              <a:gd name="connsiteX3" fmla="*/ 192468 w 228600"/>
              <a:gd name="connsiteY3" fmla="*/ 14669 h 184213"/>
              <a:gd name="connsiteX4" fmla="*/ 158306 w 228600"/>
              <a:gd name="connsiteY4" fmla="*/ 0 h 184213"/>
              <a:gd name="connsiteX5" fmla="*/ 111379 w 228600"/>
              <a:gd name="connsiteY5" fmla="*/ 46482 h 184213"/>
              <a:gd name="connsiteX6" fmla="*/ 112585 w 228600"/>
              <a:gd name="connsiteY6" fmla="*/ 57087 h 184213"/>
              <a:gd name="connsiteX7" fmla="*/ 15939 w 228600"/>
              <a:gd name="connsiteY7" fmla="*/ 8509 h 184213"/>
              <a:gd name="connsiteX8" fmla="*/ 9589 w 228600"/>
              <a:gd name="connsiteY8" fmla="*/ 31941 h 184213"/>
              <a:gd name="connsiteX9" fmla="*/ 30417 w 228600"/>
              <a:gd name="connsiteY9" fmla="*/ 70676 h 184213"/>
              <a:gd name="connsiteX10" fmla="*/ 9144 w 228600"/>
              <a:gd name="connsiteY10" fmla="*/ 64897 h 184213"/>
              <a:gd name="connsiteX11" fmla="*/ 9144 w 228600"/>
              <a:gd name="connsiteY11" fmla="*/ 65469 h 184213"/>
              <a:gd name="connsiteX12" fmla="*/ 46736 w 228600"/>
              <a:gd name="connsiteY12" fmla="*/ 111061 h 184213"/>
              <a:gd name="connsiteX13" fmla="*/ 34417 w 228600"/>
              <a:gd name="connsiteY13" fmla="*/ 112713 h 184213"/>
              <a:gd name="connsiteX14" fmla="*/ 25590 w 228600"/>
              <a:gd name="connsiteY14" fmla="*/ 111824 h 184213"/>
              <a:gd name="connsiteX15" fmla="*/ 69406 w 228600"/>
              <a:gd name="connsiteY15" fmla="*/ 144145 h 184213"/>
              <a:gd name="connsiteX16" fmla="*/ 11176 w 228600"/>
              <a:gd name="connsiteY16" fmla="*/ 164021 h 184213"/>
              <a:gd name="connsiteX17" fmla="*/ 0 w 228600"/>
              <a:gd name="connsiteY17" fmla="*/ 163386 h 184213"/>
              <a:gd name="connsiteX18" fmla="*/ 71882 w 228600"/>
              <a:gd name="connsiteY18" fmla="*/ 184214 h 184213"/>
              <a:gd name="connsiteX19" fmla="*/ 205359 w 228600"/>
              <a:gd name="connsiteY19" fmla="*/ 51943 h 184213"/>
              <a:gd name="connsiteX20" fmla="*/ 205168 w 228600"/>
              <a:gd name="connsiteY20" fmla="*/ 45974 h 184213"/>
              <a:gd name="connsiteX21" fmla="*/ 228600 w 228600"/>
              <a:gd name="connsiteY21" fmla="*/ 21908 h 1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184213">
                <a:moveTo>
                  <a:pt x="228600" y="21781"/>
                </a:moveTo>
                <a:cubicBezTo>
                  <a:pt x="220218" y="25527"/>
                  <a:pt x="211138" y="28004"/>
                  <a:pt x="201613" y="29147"/>
                </a:cubicBezTo>
                <a:cubicBezTo>
                  <a:pt x="211328" y="23368"/>
                  <a:pt x="218757" y="14224"/>
                  <a:pt x="222250" y="3366"/>
                </a:cubicBezTo>
                <a:cubicBezTo>
                  <a:pt x="213170" y="8700"/>
                  <a:pt x="203137" y="12573"/>
                  <a:pt x="192468" y="14669"/>
                </a:cubicBezTo>
                <a:cubicBezTo>
                  <a:pt x="183960" y="5651"/>
                  <a:pt x="171768" y="0"/>
                  <a:pt x="158306" y="0"/>
                </a:cubicBezTo>
                <a:cubicBezTo>
                  <a:pt x="132398" y="0"/>
                  <a:pt x="111379" y="20828"/>
                  <a:pt x="111379" y="46482"/>
                </a:cubicBezTo>
                <a:cubicBezTo>
                  <a:pt x="111379" y="50101"/>
                  <a:pt x="111824" y="53658"/>
                  <a:pt x="112585" y="57087"/>
                </a:cubicBezTo>
                <a:cubicBezTo>
                  <a:pt x="73596" y="55118"/>
                  <a:pt x="39053" y="36576"/>
                  <a:pt x="15939" y="8509"/>
                </a:cubicBezTo>
                <a:cubicBezTo>
                  <a:pt x="11875" y="15367"/>
                  <a:pt x="9589" y="23432"/>
                  <a:pt x="9589" y="31941"/>
                </a:cubicBezTo>
                <a:cubicBezTo>
                  <a:pt x="9589" y="48070"/>
                  <a:pt x="17843" y="62294"/>
                  <a:pt x="30417" y="70676"/>
                </a:cubicBezTo>
                <a:cubicBezTo>
                  <a:pt x="22733" y="70422"/>
                  <a:pt x="15494" y="68326"/>
                  <a:pt x="9144" y="64897"/>
                </a:cubicBezTo>
                <a:lnTo>
                  <a:pt x="9144" y="65469"/>
                </a:lnTo>
                <a:cubicBezTo>
                  <a:pt x="9144" y="88011"/>
                  <a:pt x="25337" y="106807"/>
                  <a:pt x="46736" y="111061"/>
                </a:cubicBezTo>
                <a:cubicBezTo>
                  <a:pt x="42799" y="112141"/>
                  <a:pt x="38671" y="112713"/>
                  <a:pt x="34417" y="112713"/>
                </a:cubicBezTo>
                <a:cubicBezTo>
                  <a:pt x="31369" y="112713"/>
                  <a:pt x="28448" y="112395"/>
                  <a:pt x="25590" y="111824"/>
                </a:cubicBezTo>
                <a:cubicBezTo>
                  <a:pt x="31560" y="130239"/>
                  <a:pt x="48895" y="143700"/>
                  <a:pt x="69406" y="144145"/>
                </a:cubicBezTo>
                <a:cubicBezTo>
                  <a:pt x="53340" y="156591"/>
                  <a:pt x="33147" y="164021"/>
                  <a:pt x="11176" y="164021"/>
                </a:cubicBezTo>
                <a:cubicBezTo>
                  <a:pt x="7366" y="164021"/>
                  <a:pt x="3683" y="163830"/>
                  <a:pt x="0" y="163386"/>
                </a:cubicBezTo>
                <a:cubicBezTo>
                  <a:pt x="20765" y="176530"/>
                  <a:pt x="45403" y="184214"/>
                  <a:pt x="71882" y="184214"/>
                </a:cubicBezTo>
                <a:cubicBezTo>
                  <a:pt x="158115" y="184214"/>
                  <a:pt x="205359" y="113347"/>
                  <a:pt x="205359" y="51943"/>
                </a:cubicBezTo>
                <a:cubicBezTo>
                  <a:pt x="205359" y="49911"/>
                  <a:pt x="205359" y="47943"/>
                  <a:pt x="205168" y="45974"/>
                </a:cubicBezTo>
                <a:cubicBezTo>
                  <a:pt x="214376" y="39497"/>
                  <a:pt x="222314" y="31242"/>
                  <a:pt x="228600" y="21908"/>
                </a:cubicBezTo>
              </a:path>
            </a:pathLst>
          </a:custGeom>
          <a:solidFill>
            <a:srgbClr val="66F58A"/>
          </a:solidFill>
          <a:ln w="6350" cap="flat">
            <a:noFill/>
            <a:prstDash val="solid"/>
            <a:miter/>
          </a:ln>
        </p:spPr>
        <p:txBody>
          <a:bodyPr rtlCol="0" anchor="ctr"/>
          <a:lstStyle/>
          <a:p>
            <a:endParaRPr lang="en-GB"/>
          </a:p>
        </p:txBody>
      </p:sp>
      <p:grpSp>
        <p:nvGrpSpPr>
          <p:cNvPr id="27" name="Gruppe 26">
            <a:extLst>
              <a:ext uri="{FF2B5EF4-FFF2-40B4-BE49-F238E27FC236}">
                <a16:creationId xmlns:a16="http://schemas.microsoft.com/office/drawing/2014/main" id="{B94408EB-0729-DED2-D6A1-4A8D6860206F}"/>
              </a:ext>
            </a:extLst>
          </p:cNvPr>
          <p:cNvGrpSpPr/>
          <p:nvPr/>
        </p:nvGrpSpPr>
        <p:grpSpPr>
          <a:xfrm>
            <a:off x="11197203" y="6196013"/>
            <a:ext cx="228600" cy="228600"/>
            <a:chOff x="11263345" y="5849417"/>
            <a:chExt cx="228600" cy="228600"/>
          </a:xfrm>
        </p:grpSpPr>
        <p:sp>
          <p:nvSpPr>
            <p:cNvPr id="25" name="Kombinationstegning: figur 24">
              <a:hlinkClick r:id="rId6"/>
              <a:extLst>
                <a:ext uri="{FF2B5EF4-FFF2-40B4-BE49-F238E27FC236}">
                  <a16:creationId xmlns:a16="http://schemas.microsoft.com/office/drawing/2014/main" id="{5C338E6B-92B7-EF04-3879-56F1CC8AF8F5}"/>
                </a:ext>
              </a:extLst>
            </p:cNvPr>
            <p:cNvSpPr/>
            <p:nvPr/>
          </p:nvSpPr>
          <p:spPr>
            <a:xfrm>
              <a:off x="11263345" y="5849417"/>
              <a:ext cx="228600" cy="228600"/>
            </a:xfrm>
            <a:custGeom>
              <a:avLst/>
              <a:gdLst>
                <a:gd name="connsiteX0" fmla="*/ 228600 w 228600"/>
                <a:gd name="connsiteY0" fmla="*/ 196850 h 228600"/>
                <a:gd name="connsiteX1" fmla="*/ 196850 w 228600"/>
                <a:gd name="connsiteY1" fmla="*/ 228600 h 228600"/>
                <a:gd name="connsiteX2" fmla="*/ 31750 w 228600"/>
                <a:gd name="connsiteY2" fmla="*/ 228600 h 228600"/>
                <a:gd name="connsiteX3" fmla="*/ 0 w 228600"/>
                <a:gd name="connsiteY3" fmla="*/ 196850 h 228600"/>
                <a:gd name="connsiteX4" fmla="*/ 0 w 228600"/>
                <a:gd name="connsiteY4" fmla="*/ 31750 h 228600"/>
                <a:gd name="connsiteX5" fmla="*/ 31750 w 228600"/>
                <a:gd name="connsiteY5" fmla="*/ 0 h 228600"/>
                <a:gd name="connsiteX6" fmla="*/ 196850 w 228600"/>
                <a:gd name="connsiteY6" fmla="*/ 0 h 228600"/>
                <a:gd name="connsiteX7" fmla="*/ 228600 w 228600"/>
                <a:gd name="connsiteY7" fmla="*/ 31750 h 228600"/>
                <a:gd name="connsiteX8" fmla="*/ 228600 w 228600"/>
                <a:gd name="connsiteY8" fmla="*/ 1968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228600">
                  <a:moveTo>
                    <a:pt x="228600" y="196850"/>
                  </a:moveTo>
                  <a:cubicBezTo>
                    <a:pt x="228600" y="214376"/>
                    <a:pt x="214376" y="228600"/>
                    <a:pt x="196850" y="228600"/>
                  </a:cubicBezTo>
                  <a:lnTo>
                    <a:pt x="31750" y="228600"/>
                  </a:lnTo>
                  <a:cubicBezTo>
                    <a:pt x="14224" y="228600"/>
                    <a:pt x="0" y="214376"/>
                    <a:pt x="0" y="196850"/>
                  </a:cubicBezTo>
                  <a:lnTo>
                    <a:pt x="0" y="31750"/>
                  </a:lnTo>
                  <a:cubicBezTo>
                    <a:pt x="0" y="14224"/>
                    <a:pt x="14224" y="0"/>
                    <a:pt x="31750" y="0"/>
                  </a:cubicBezTo>
                  <a:lnTo>
                    <a:pt x="196850" y="0"/>
                  </a:lnTo>
                  <a:cubicBezTo>
                    <a:pt x="214376" y="0"/>
                    <a:pt x="228600" y="14224"/>
                    <a:pt x="228600" y="31750"/>
                  </a:cubicBezTo>
                  <a:lnTo>
                    <a:pt x="228600" y="196850"/>
                  </a:lnTo>
                  <a:close/>
                </a:path>
              </a:pathLst>
            </a:custGeom>
            <a:solidFill>
              <a:srgbClr val="66F58A"/>
            </a:solidFill>
            <a:ln w="6350" cap="flat">
              <a:noFill/>
              <a:prstDash val="solid"/>
              <a:miter/>
            </a:ln>
          </p:spPr>
          <p:txBody>
            <a:bodyPr rtlCol="0" anchor="ctr"/>
            <a:lstStyle/>
            <a:p>
              <a:endParaRPr lang="en-GB"/>
            </a:p>
          </p:txBody>
        </p:sp>
        <p:sp>
          <p:nvSpPr>
            <p:cNvPr id="26" name="Kombinationstegning: figur 25">
              <a:extLst>
                <a:ext uri="{FF2B5EF4-FFF2-40B4-BE49-F238E27FC236}">
                  <a16:creationId xmlns:a16="http://schemas.microsoft.com/office/drawing/2014/main" id="{714E625B-CCD7-5940-A293-7C3A7C355368}"/>
                </a:ext>
              </a:extLst>
            </p:cNvPr>
            <p:cNvSpPr/>
            <p:nvPr/>
          </p:nvSpPr>
          <p:spPr>
            <a:xfrm>
              <a:off x="11301381" y="5887517"/>
              <a:ext cx="152463" cy="152400"/>
            </a:xfrm>
            <a:custGeom>
              <a:avLst/>
              <a:gdLst>
                <a:gd name="connsiteX0" fmla="*/ 64 w 152463"/>
                <a:gd name="connsiteY0" fmla="*/ 44450 h 152400"/>
                <a:gd name="connsiteX1" fmla="*/ 31814 w 152463"/>
                <a:gd name="connsiteY1" fmla="*/ 44450 h 152400"/>
                <a:gd name="connsiteX2" fmla="*/ 31814 w 152463"/>
                <a:gd name="connsiteY2" fmla="*/ 152400 h 152400"/>
                <a:gd name="connsiteX3" fmla="*/ 64 w 152463"/>
                <a:gd name="connsiteY3" fmla="*/ 152400 h 152400"/>
                <a:gd name="connsiteX4" fmla="*/ 64 w 152463"/>
                <a:gd name="connsiteY4" fmla="*/ 44450 h 152400"/>
                <a:gd name="connsiteX5" fmla="*/ 15811 w 152463"/>
                <a:gd name="connsiteY5" fmla="*/ 31750 h 152400"/>
                <a:gd name="connsiteX6" fmla="*/ 15621 w 152463"/>
                <a:gd name="connsiteY6" fmla="*/ 31750 h 152400"/>
                <a:gd name="connsiteX7" fmla="*/ 0 w 152463"/>
                <a:gd name="connsiteY7" fmla="*/ 15875 h 152400"/>
                <a:gd name="connsiteX8" fmla="*/ 15939 w 152463"/>
                <a:gd name="connsiteY8" fmla="*/ 0 h 152400"/>
                <a:gd name="connsiteX9" fmla="*/ 31750 w 152463"/>
                <a:gd name="connsiteY9" fmla="*/ 15875 h 152400"/>
                <a:gd name="connsiteX10" fmla="*/ 15748 w 152463"/>
                <a:gd name="connsiteY10" fmla="*/ 31750 h 152400"/>
                <a:gd name="connsiteX11" fmla="*/ 152464 w 152463"/>
                <a:gd name="connsiteY11" fmla="*/ 152400 h 152400"/>
                <a:gd name="connsiteX12" fmla="*/ 120714 w 152463"/>
                <a:gd name="connsiteY12" fmla="*/ 152400 h 152400"/>
                <a:gd name="connsiteX13" fmla="*/ 120714 w 152463"/>
                <a:gd name="connsiteY13" fmla="*/ 94615 h 152400"/>
                <a:gd name="connsiteX14" fmla="*/ 100457 w 152463"/>
                <a:gd name="connsiteY14" fmla="*/ 71120 h 152400"/>
                <a:gd name="connsiteX15" fmla="*/ 83249 w 152463"/>
                <a:gd name="connsiteY15" fmla="*/ 83757 h 152400"/>
                <a:gd name="connsiteX16" fmla="*/ 82614 w 152463"/>
                <a:gd name="connsiteY16" fmla="*/ 95250 h 152400"/>
                <a:gd name="connsiteX17" fmla="*/ 82614 w 152463"/>
                <a:gd name="connsiteY17" fmla="*/ 152400 h 152400"/>
                <a:gd name="connsiteX18" fmla="*/ 50864 w 152463"/>
                <a:gd name="connsiteY18" fmla="*/ 152400 h 152400"/>
                <a:gd name="connsiteX19" fmla="*/ 50864 w 152463"/>
                <a:gd name="connsiteY19" fmla="*/ 44450 h 152400"/>
                <a:gd name="connsiteX20" fmla="*/ 82614 w 152463"/>
                <a:gd name="connsiteY20" fmla="*/ 44450 h 152400"/>
                <a:gd name="connsiteX21" fmla="*/ 82614 w 152463"/>
                <a:gd name="connsiteY21" fmla="*/ 61087 h 152400"/>
                <a:gd name="connsiteX22" fmla="*/ 112713 w 152463"/>
                <a:gd name="connsiteY22" fmla="*/ 44450 h 152400"/>
                <a:gd name="connsiteX23" fmla="*/ 152464 w 152463"/>
                <a:gd name="connsiteY23" fmla="*/ 90614 h 152400"/>
                <a:gd name="connsiteX24" fmla="*/ 152464 w 152463"/>
                <a:gd name="connsiteY24" fmla="*/ 152400 h 152400"/>
                <a:gd name="connsiteX25" fmla="*/ 152464 w 152463"/>
                <a:gd name="connsiteY25"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463" h="152400">
                  <a:moveTo>
                    <a:pt x="64" y="44450"/>
                  </a:moveTo>
                  <a:lnTo>
                    <a:pt x="31814" y="44450"/>
                  </a:lnTo>
                  <a:lnTo>
                    <a:pt x="31814" y="152400"/>
                  </a:lnTo>
                  <a:lnTo>
                    <a:pt x="64" y="152400"/>
                  </a:lnTo>
                  <a:lnTo>
                    <a:pt x="64" y="44450"/>
                  </a:lnTo>
                  <a:close/>
                  <a:moveTo>
                    <a:pt x="15811" y="31750"/>
                  </a:moveTo>
                  <a:lnTo>
                    <a:pt x="15621" y="31750"/>
                  </a:lnTo>
                  <a:cubicBezTo>
                    <a:pt x="6160" y="31750"/>
                    <a:pt x="0" y="24701"/>
                    <a:pt x="0" y="15875"/>
                  </a:cubicBezTo>
                  <a:cubicBezTo>
                    <a:pt x="0" y="7049"/>
                    <a:pt x="6286" y="0"/>
                    <a:pt x="15939" y="0"/>
                  </a:cubicBezTo>
                  <a:cubicBezTo>
                    <a:pt x="25590" y="0"/>
                    <a:pt x="31560" y="6858"/>
                    <a:pt x="31750" y="15875"/>
                  </a:cubicBezTo>
                  <a:cubicBezTo>
                    <a:pt x="31750" y="24701"/>
                    <a:pt x="25590" y="31750"/>
                    <a:pt x="15748" y="31750"/>
                  </a:cubicBezTo>
                  <a:close/>
                  <a:moveTo>
                    <a:pt x="152464" y="152400"/>
                  </a:moveTo>
                  <a:lnTo>
                    <a:pt x="120714" y="152400"/>
                  </a:lnTo>
                  <a:lnTo>
                    <a:pt x="120714" y="94615"/>
                  </a:lnTo>
                  <a:cubicBezTo>
                    <a:pt x="120714" y="80645"/>
                    <a:pt x="112903" y="71120"/>
                    <a:pt x="100457" y="71120"/>
                  </a:cubicBezTo>
                  <a:cubicBezTo>
                    <a:pt x="90932" y="71120"/>
                    <a:pt x="85789" y="77533"/>
                    <a:pt x="83249" y="83757"/>
                  </a:cubicBezTo>
                  <a:cubicBezTo>
                    <a:pt x="82360" y="85979"/>
                    <a:pt x="82614" y="92139"/>
                    <a:pt x="82614" y="95250"/>
                  </a:cubicBezTo>
                  <a:lnTo>
                    <a:pt x="82614" y="152400"/>
                  </a:lnTo>
                  <a:lnTo>
                    <a:pt x="50864" y="152400"/>
                  </a:lnTo>
                  <a:lnTo>
                    <a:pt x="50864" y="44450"/>
                  </a:lnTo>
                  <a:lnTo>
                    <a:pt x="82614" y="44450"/>
                  </a:lnTo>
                  <a:lnTo>
                    <a:pt x="82614" y="61087"/>
                  </a:lnTo>
                  <a:cubicBezTo>
                    <a:pt x="87186" y="53975"/>
                    <a:pt x="94361" y="44450"/>
                    <a:pt x="112713" y="44450"/>
                  </a:cubicBezTo>
                  <a:cubicBezTo>
                    <a:pt x="135446" y="44450"/>
                    <a:pt x="152464" y="58738"/>
                    <a:pt x="152464" y="90614"/>
                  </a:cubicBezTo>
                  <a:lnTo>
                    <a:pt x="152464" y="152400"/>
                  </a:lnTo>
                  <a:lnTo>
                    <a:pt x="152464" y="152400"/>
                  </a:lnTo>
                  <a:close/>
                </a:path>
              </a:pathLst>
            </a:custGeom>
            <a:solidFill>
              <a:schemeClr val="accent3"/>
            </a:solidFill>
            <a:ln w="6350" cap="flat">
              <a:noFill/>
              <a:prstDash val="solid"/>
              <a:miter/>
            </a:ln>
          </p:spPr>
          <p:txBody>
            <a:bodyPr rtlCol="0" anchor="ctr"/>
            <a:lstStyle/>
            <a:p>
              <a:endParaRPr lang="en-GB"/>
            </a:p>
          </p:txBody>
        </p:sp>
      </p:grpSp>
      <p:sp>
        <p:nvSpPr>
          <p:cNvPr id="4" name="Pladsholder til billede 3">
            <a:extLst>
              <a:ext uri="{FF2B5EF4-FFF2-40B4-BE49-F238E27FC236}">
                <a16:creationId xmlns:a16="http://schemas.microsoft.com/office/drawing/2014/main" id="{79E02C25-C0E9-3E41-C33B-402FF44FEC2F}"/>
              </a:ext>
            </a:extLst>
          </p:cNvPr>
          <p:cNvSpPr>
            <a:spLocks noGrp="1" noChangeAspect="1"/>
          </p:cNvSpPr>
          <p:nvPr>
            <p:ph type="pic" sz="quarter" idx="13" hasCustomPrompt="1"/>
          </p:nvPr>
        </p:nvSpPr>
        <p:spPr>
          <a:xfrm rot="10800000">
            <a:off x="4253076" y="3605440"/>
            <a:ext cx="2832100" cy="2832100"/>
          </a:xfrm>
          <a:prstGeom prst="teardrop">
            <a:avLst/>
          </a:prstGeom>
          <a:blipFill dpi="0" rotWithShape="0">
            <a:blip r:embed="rId7" cstate="screen">
              <a:extLst>
                <a:ext uri="{28A0092B-C50C-407E-A947-70E740481C1C}">
                  <a14:useLocalDpi xmlns:a14="http://schemas.microsoft.com/office/drawing/2010/main"/>
                </a:ext>
              </a:extLst>
            </a:blip>
            <a:srcRect/>
            <a:stretch>
              <a:fillRect t="-20316" r="-20866"/>
            </a:stretch>
          </a:blipFill>
        </p:spPr>
        <p:txBody>
          <a:bodyPr wrap="square"/>
          <a:lstStyle/>
          <a:p>
            <a:r>
              <a:rPr lang="en-GB" err="1"/>
              <a:t>Klik</a:t>
            </a:r>
            <a:r>
              <a:rPr lang="en-GB"/>
              <a:t> </a:t>
            </a:r>
            <a:r>
              <a:rPr lang="en-GB" err="1"/>
              <a:t>på</a:t>
            </a:r>
            <a:r>
              <a:rPr lang="en-GB"/>
              <a:t> </a:t>
            </a:r>
            <a:r>
              <a:rPr lang="en-GB" err="1"/>
              <a:t>ikonet</a:t>
            </a:r>
            <a:r>
              <a:rPr lang="en-GB"/>
              <a:t> for at </a:t>
            </a:r>
            <a:r>
              <a:rPr lang="en-GB" err="1"/>
              <a:t>tilføje</a:t>
            </a:r>
            <a:r>
              <a:rPr lang="en-GB"/>
              <a:t> et </a:t>
            </a:r>
            <a:r>
              <a:rPr lang="en-GB" err="1"/>
              <a:t>billede</a:t>
            </a:r>
            <a:endParaRPr lang="en-GB"/>
          </a:p>
        </p:txBody>
      </p:sp>
    </p:spTree>
    <p:extLst>
      <p:ext uri="{BB962C8B-B14F-4D97-AF65-F5344CB8AC3E}">
        <p14:creationId xmlns:p14="http://schemas.microsoft.com/office/powerpoint/2010/main" val="104372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206D5-E028-D552-43CE-649016F5EF7C}"/>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D227C33-C688-7060-60D1-2071656631F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9D15A47-D61A-AD34-496D-F481EB995B92}"/>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EBD82840-A790-43FA-DBBB-9ACE033C0FAE}"/>
              </a:ext>
            </a:extLst>
          </p:cNvPr>
          <p:cNvSpPr>
            <a:spLocks noGrp="1"/>
          </p:cNvSpPr>
          <p:nvPr>
            <p:ph type="sldNum" sz="quarter" idx="11"/>
          </p:nvPr>
        </p:nvSpPr>
        <p:spPr/>
        <p:txBody>
          <a:bodyPr/>
          <a:lstStyle/>
          <a:p>
            <a:fld id="{FA9C6259-F55B-47A6-AB0B-9E9F0835A2F0}" type="slidenum">
              <a:rPr lang="en-GB" smtClean="0"/>
              <a:t>‹#›</a:t>
            </a:fld>
            <a:endParaRPr lang="en-GB"/>
          </a:p>
        </p:txBody>
      </p:sp>
    </p:spTree>
    <p:extLst>
      <p:ext uri="{BB962C8B-B14F-4D97-AF65-F5344CB8AC3E}">
        <p14:creationId xmlns:p14="http://schemas.microsoft.com/office/powerpoint/2010/main" val="869142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3 m. bille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ABF835-772F-939C-1426-D5F1F1B2FAD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DB2BB577-8FC0-7007-3E91-CF45B9B7A497}"/>
              </a:ext>
            </a:extLst>
          </p:cNvPr>
          <p:cNvSpPr>
            <a:spLocks noGrp="1"/>
          </p:cNvSpPr>
          <p:nvPr>
            <p:ph type="title" hasCustomPrompt="1"/>
          </p:nvPr>
        </p:nvSpPr>
        <p:spPr>
          <a:xfrm>
            <a:off x="431799" y="1081617"/>
            <a:ext cx="5662613" cy="1080000"/>
          </a:xfrm>
        </p:spPr>
        <p:txBody>
          <a:bodyPr/>
          <a:lstStyle/>
          <a:p>
            <a:r>
              <a:rPr lang="da-DK"/>
              <a:t>Agenda</a:t>
            </a:r>
          </a:p>
        </p:txBody>
      </p:sp>
      <p:sp>
        <p:nvSpPr>
          <p:cNvPr id="6" name="Slide Number Placeholder 5">
            <a:extLst>
              <a:ext uri="{FF2B5EF4-FFF2-40B4-BE49-F238E27FC236}">
                <a16:creationId xmlns:a16="http://schemas.microsoft.com/office/drawing/2014/main" id="{D33FFB37-073B-7316-450C-DBB23F6FB0CC}"/>
              </a:ext>
            </a:extLst>
          </p:cNvPr>
          <p:cNvSpPr>
            <a:spLocks noGrp="1"/>
          </p:cNvSpPr>
          <p:nvPr>
            <p:ph type="sldNum" sz="quarter" idx="12"/>
          </p:nvPr>
        </p:nvSpPr>
        <p:spPr/>
        <p:txBody>
          <a:bodyPr/>
          <a:lstStyle/>
          <a:p>
            <a:fld id="{FA9C6259-F55B-47A6-AB0B-9E9F0835A2F0}" type="slidenum">
              <a:rPr lang="da-DK" smtClean="0"/>
              <a:t>‹#›</a:t>
            </a:fld>
            <a:endParaRPr lang="da-DK"/>
          </a:p>
        </p:txBody>
      </p:sp>
      <p:sp>
        <p:nvSpPr>
          <p:cNvPr id="8" name="Picture Placeholder 7">
            <a:extLst>
              <a:ext uri="{FF2B5EF4-FFF2-40B4-BE49-F238E27FC236}">
                <a16:creationId xmlns:a16="http://schemas.microsoft.com/office/drawing/2014/main" id="{AE9AAB7B-B47E-C2C9-EFCF-2553C7E9A2CF}"/>
              </a:ext>
            </a:extLst>
          </p:cNvPr>
          <p:cNvSpPr>
            <a:spLocks noGrp="1"/>
          </p:cNvSpPr>
          <p:nvPr>
            <p:ph type="pic" sz="quarter" idx="13" hasCustomPrompt="1"/>
          </p:nvPr>
        </p:nvSpPr>
        <p:spPr>
          <a:xfrm>
            <a:off x="6938889" y="-3311"/>
            <a:ext cx="5253110" cy="6861310"/>
          </a:xfrm>
          <a:custGeom>
            <a:avLst/>
            <a:gdLst>
              <a:gd name="connsiteX0" fmla="*/ 0 w 5382408"/>
              <a:gd name="connsiteY0" fmla="*/ 0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0 w 5382408"/>
              <a:gd name="connsiteY7" fmla="*/ 0 h 6858000"/>
              <a:gd name="connsiteX8" fmla="*/ 0 w 5382408"/>
              <a:gd name="connsiteY8" fmla="*/ 0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0 w 5382408"/>
              <a:gd name="connsiteY7" fmla="*/ 0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0 w 5382408"/>
              <a:gd name="connsiteY6" fmla="*/ 6858000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1118795 w 5382408"/>
              <a:gd name="connsiteY6" fmla="*/ 6847243 h 6858000"/>
              <a:gd name="connsiteX7" fmla="*/ 129091 w 5382408"/>
              <a:gd name="connsiteY7" fmla="*/ 2162287 h 6858000"/>
              <a:gd name="connsiteX8" fmla="*/ 2065468 w 5382408"/>
              <a:gd name="connsiteY8" fmla="*/ 10758 h 6858000"/>
              <a:gd name="connsiteX0" fmla="*/ 2065468 w 5382408"/>
              <a:gd name="connsiteY0" fmla="*/ 10758 h 6858000"/>
              <a:gd name="connsiteX1" fmla="*/ 5382408 w 5382408"/>
              <a:gd name="connsiteY1" fmla="*/ 0 h 6858000"/>
              <a:gd name="connsiteX2" fmla="*/ 5382408 w 5382408"/>
              <a:gd name="connsiteY2" fmla="*/ 0 h 6858000"/>
              <a:gd name="connsiteX3" fmla="*/ 5382408 w 5382408"/>
              <a:gd name="connsiteY3" fmla="*/ 6858000 h 6858000"/>
              <a:gd name="connsiteX4" fmla="*/ 5382408 w 5382408"/>
              <a:gd name="connsiteY4" fmla="*/ 6858000 h 6858000"/>
              <a:gd name="connsiteX5" fmla="*/ 0 w 5382408"/>
              <a:gd name="connsiteY5" fmla="*/ 6858000 h 6858000"/>
              <a:gd name="connsiteX6" fmla="*/ 1118795 w 5382408"/>
              <a:gd name="connsiteY6" fmla="*/ 6847243 h 6858000"/>
              <a:gd name="connsiteX7" fmla="*/ 129091 w 5382408"/>
              <a:gd name="connsiteY7" fmla="*/ 2162287 h 6858000"/>
              <a:gd name="connsiteX8" fmla="*/ 2065468 w 5382408"/>
              <a:gd name="connsiteY8" fmla="*/ 10758 h 6858000"/>
              <a:gd name="connsiteX0" fmla="*/ 1946431 w 5263371"/>
              <a:gd name="connsiteY0" fmla="*/ 10758 h 6858000"/>
              <a:gd name="connsiteX1" fmla="*/ 5263371 w 5263371"/>
              <a:gd name="connsiteY1" fmla="*/ 0 h 6858000"/>
              <a:gd name="connsiteX2" fmla="*/ 5263371 w 5263371"/>
              <a:gd name="connsiteY2" fmla="*/ 0 h 6858000"/>
              <a:gd name="connsiteX3" fmla="*/ 5263371 w 5263371"/>
              <a:gd name="connsiteY3" fmla="*/ 6858000 h 6858000"/>
              <a:gd name="connsiteX4" fmla="*/ 5263371 w 5263371"/>
              <a:gd name="connsiteY4" fmla="*/ 6858000 h 6858000"/>
              <a:gd name="connsiteX5" fmla="*/ 2097038 w 5263371"/>
              <a:gd name="connsiteY5" fmla="*/ 6847242 h 6858000"/>
              <a:gd name="connsiteX6" fmla="*/ 999758 w 5263371"/>
              <a:gd name="connsiteY6" fmla="*/ 6847243 h 6858000"/>
              <a:gd name="connsiteX7" fmla="*/ 10054 w 5263371"/>
              <a:gd name="connsiteY7" fmla="*/ 2162287 h 6858000"/>
              <a:gd name="connsiteX8" fmla="*/ 1946431 w 5263371"/>
              <a:gd name="connsiteY8" fmla="*/ 10758 h 6858000"/>
              <a:gd name="connsiteX0" fmla="*/ 1946982 w 5263922"/>
              <a:gd name="connsiteY0" fmla="*/ 10758 h 6858000"/>
              <a:gd name="connsiteX1" fmla="*/ 5263922 w 5263922"/>
              <a:gd name="connsiteY1" fmla="*/ 0 h 6858000"/>
              <a:gd name="connsiteX2" fmla="*/ 5263922 w 5263922"/>
              <a:gd name="connsiteY2" fmla="*/ 0 h 6858000"/>
              <a:gd name="connsiteX3" fmla="*/ 5263922 w 5263922"/>
              <a:gd name="connsiteY3" fmla="*/ 6858000 h 6858000"/>
              <a:gd name="connsiteX4" fmla="*/ 5263922 w 5263922"/>
              <a:gd name="connsiteY4" fmla="*/ 6858000 h 6858000"/>
              <a:gd name="connsiteX5" fmla="*/ 2097589 w 5263922"/>
              <a:gd name="connsiteY5" fmla="*/ 6847242 h 6858000"/>
              <a:gd name="connsiteX6" fmla="*/ 978794 w 5263922"/>
              <a:gd name="connsiteY6" fmla="*/ 6858000 h 6858000"/>
              <a:gd name="connsiteX7" fmla="*/ 10605 w 5263922"/>
              <a:gd name="connsiteY7" fmla="*/ 2162287 h 6858000"/>
              <a:gd name="connsiteX8" fmla="*/ 1946982 w 5263922"/>
              <a:gd name="connsiteY8" fmla="*/ 10758 h 6858000"/>
              <a:gd name="connsiteX0" fmla="*/ 1946982 w 5263922"/>
              <a:gd name="connsiteY0" fmla="*/ 10758 h 6858000"/>
              <a:gd name="connsiteX1" fmla="*/ 5263922 w 5263922"/>
              <a:gd name="connsiteY1" fmla="*/ 0 h 6858000"/>
              <a:gd name="connsiteX2" fmla="*/ 5263922 w 5263922"/>
              <a:gd name="connsiteY2" fmla="*/ 0 h 6858000"/>
              <a:gd name="connsiteX3" fmla="*/ 5263922 w 5263922"/>
              <a:gd name="connsiteY3" fmla="*/ 6858000 h 6858000"/>
              <a:gd name="connsiteX4" fmla="*/ 5263922 w 5263922"/>
              <a:gd name="connsiteY4" fmla="*/ 6858000 h 6858000"/>
              <a:gd name="connsiteX5" fmla="*/ 978794 w 5263922"/>
              <a:gd name="connsiteY5" fmla="*/ 6858000 h 6858000"/>
              <a:gd name="connsiteX6" fmla="*/ 10605 w 5263922"/>
              <a:gd name="connsiteY6" fmla="*/ 2162287 h 6858000"/>
              <a:gd name="connsiteX7" fmla="*/ 1946982 w 5263922"/>
              <a:gd name="connsiteY7" fmla="*/ 10758 h 6858000"/>
              <a:gd name="connsiteX0" fmla="*/ 1936957 w 5253897"/>
              <a:gd name="connsiteY0" fmla="*/ 10758 h 6858000"/>
              <a:gd name="connsiteX1" fmla="*/ 5253897 w 5253897"/>
              <a:gd name="connsiteY1" fmla="*/ 0 h 6858000"/>
              <a:gd name="connsiteX2" fmla="*/ 5253897 w 5253897"/>
              <a:gd name="connsiteY2" fmla="*/ 0 h 6858000"/>
              <a:gd name="connsiteX3" fmla="*/ 5253897 w 5253897"/>
              <a:gd name="connsiteY3" fmla="*/ 6858000 h 6858000"/>
              <a:gd name="connsiteX4" fmla="*/ 5253897 w 5253897"/>
              <a:gd name="connsiteY4" fmla="*/ 6858000 h 6858000"/>
              <a:gd name="connsiteX5" fmla="*/ 968769 w 5253897"/>
              <a:gd name="connsiteY5" fmla="*/ 6858000 h 6858000"/>
              <a:gd name="connsiteX6" fmla="*/ 580 w 5253897"/>
              <a:gd name="connsiteY6" fmla="*/ 2162287 h 6858000"/>
              <a:gd name="connsiteX7" fmla="*/ 1936957 w 5253897"/>
              <a:gd name="connsiteY7" fmla="*/ 10758 h 6858000"/>
              <a:gd name="connsiteX0" fmla="*/ 1937335 w 5254275"/>
              <a:gd name="connsiteY0" fmla="*/ 10758 h 6858000"/>
              <a:gd name="connsiteX1" fmla="*/ 5254275 w 5254275"/>
              <a:gd name="connsiteY1" fmla="*/ 0 h 6858000"/>
              <a:gd name="connsiteX2" fmla="*/ 5254275 w 5254275"/>
              <a:gd name="connsiteY2" fmla="*/ 0 h 6858000"/>
              <a:gd name="connsiteX3" fmla="*/ 5254275 w 5254275"/>
              <a:gd name="connsiteY3" fmla="*/ 6858000 h 6858000"/>
              <a:gd name="connsiteX4" fmla="*/ 5254275 w 5254275"/>
              <a:gd name="connsiteY4" fmla="*/ 6858000 h 6858000"/>
              <a:gd name="connsiteX5" fmla="*/ 969147 w 5254275"/>
              <a:gd name="connsiteY5" fmla="*/ 6858000 h 6858000"/>
              <a:gd name="connsiteX6" fmla="*/ 958 w 5254275"/>
              <a:gd name="connsiteY6" fmla="*/ 2162287 h 6858000"/>
              <a:gd name="connsiteX7" fmla="*/ 1937335 w 5254275"/>
              <a:gd name="connsiteY7" fmla="*/ 10758 h 6858000"/>
              <a:gd name="connsiteX0" fmla="*/ 1937335 w 5254275"/>
              <a:gd name="connsiteY0" fmla="*/ 24344 h 6871586"/>
              <a:gd name="connsiteX1" fmla="*/ 5254275 w 5254275"/>
              <a:gd name="connsiteY1" fmla="*/ 13586 h 6871586"/>
              <a:gd name="connsiteX2" fmla="*/ 5254275 w 5254275"/>
              <a:gd name="connsiteY2" fmla="*/ 13586 h 6871586"/>
              <a:gd name="connsiteX3" fmla="*/ 5254275 w 5254275"/>
              <a:gd name="connsiteY3" fmla="*/ 6871586 h 6871586"/>
              <a:gd name="connsiteX4" fmla="*/ 5254275 w 5254275"/>
              <a:gd name="connsiteY4" fmla="*/ 6871586 h 6871586"/>
              <a:gd name="connsiteX5" fmla="*/ 969147 w 5254275"/>
              <a:gd name="connsiteY5" fmla="*/ 6871586 h 6871586"/>
              <a:gd name="connsiteX6" fmla="*/ 958 w 5254275"/>
              <a:gd name="connsiteY6" fmla="*/ 2175873 h 6871586"/>
              <a:gd name="connsiteX7" fmla="*/ 1937335 w 5254275"/>
              <a:gd name="connsiteY7" fmla="*/ 24344 h 6871586"/>
              <a:gd name="connsiteX0" fmla="*/ 1937122 w 5254062"/>
              <a:gd name="connsiteY0" fmla="*/ 10758 h 6858000"/>
              <a:gd name="connsiteX1" fmla="*/ 5254062 w 5254062"/>
              <a:gd name="connsiteY1" fmla="*/ 0 h 6858000"/>
              <a:gd name="connsiteX2" fmla="*/ 5254062 w 5254062"/>
              <a:gd name="connsiteY2" fmla="*/ 0 h 6858000"/>
              <a:gd name="connsiteX3" fmla="*/ 5254062 w 5254062"/>
              <a:gd name="connsiteY3" fmla="*/ 6858000 h 6858000"/>
              <a:gd name="connsiteX4" fmla="*/ 5254062 w 5254062"/>
              <a:gd name="connsiteY4" fmla="*/ 6858000 h 6858000"/>
              <a:gd name="connsiteX5" fmla="*/ 968934 w 5254062"/>
              <a:gd name="connsiteY5" fmla="*/ 6858000 h 6858000"/>
              <a:gd name="connsiteX6" fmla="*/ 745 w 5254062"/>
              <a:gd name="connsiteY6" fmla="*/ 2162287 h 6858000"/>
              <a:gd name="connsiteX7" fmla="*/ 1937122 w 5254062"/>
              <a:gd name="connsiteY7" fmla="*/ 10758 h 6858000"/>
              <a:gd name="connsiteX0" fmla="*/ 1936377 w 5253317"/>
              <a:gd name="connsiteY0" fmla="*/ 10758 h 6858000"/>
              <a:gd name="connsiteX1" fmla="*/ 5253317 w 5253317"/>
              <a:gd name="connsiteY1" fmla="*/ 0 h 6858000"/>
              <a:gd name="connsiteX2" fmla="*/ 5253317 w 5253317"/>
              <a:gd name="connsiteY2" fmla="*/ 0 h 6858000"/>
              <a:gd name="connsiteX3" fmla="*/ 5253317 w 5253317"/>
              <a:gd name="connsiteY3" fmla="*/ 6858000 h 6858000"/>
              <a:gd name="connsiteX4" fmla="*/ 5253317 w 5253317"/>
              <a:gd name="connsiteY4" fmla="*/ 6858000 h 6858000"/>
              <a:gd name="connsiteX5" fmla="*/ 968189 w 5253317"/>
              <a:gd name="connsiteY5" fmla="*/ 6858000 h 6858000"/>
              <a:gd name="connsiteX6" fmla="*/ 0 w 5253317"/>
              <a:gd name="connsiteY6" fmla="*/ 2162287 h 6858000"/>
              <a:gd name="connsiteX7" fmla="*/ 1936377 w 5253317"/>
              <a:gd name="connsiteY7" fmla="*/ 10758 h 6858000"/>
              <a:gd name="connsiteX0" fmla="*/ 1925620 w 5242560"/>
              <a:gd name="connsiteY0" fmla="*/ 170953 h 7018195"/>
              <a:gd name="connsiteX1" fmla="*/ 5242560 w 5242560"/>
              <a:gd name="connsiteY1" fmla="*/ 160195 h 7018195"/>
              <a:gd name="connsiteX2" fmla="*/ 5242560 w 5242560"/>
              <a:gd name="connsiteY2" fmla="*/ 160195 h 7018195"/>
              <a:gd name="connsiteX3" fmla="*/ 5242560 w 5242560"/>
              <a:gd name="connsiteY3" fmla="*/ 7018195 h 7018195"/>
              <a:gd name="connsiteX4" fmla="*/ 5242560 w 5242560"/>
              <a:gd name="connsiteY4" fmla="*/ 7018195 h 7018195"/>
              <a:gd name="connsiteX5" fmla="*/ 957432 w 5242560"/>
              <a:gd name="connsiteY5" fmla="*/ 7018195 h 7018195"/>
              <a:gd name="connsiteX6" fmla="*/ 0 w 5242560"/>
              <a:gd name="connsiteY6" fmla="*/ 2440816 h 7018195"/>
              <a:gd name="connsiteX7" fmla="*/ 1925620 w 5242560"/>
              <a:gd name="connsiteY7" fmla="*/ 170953 h 7018195"/>
              <a:gd name="connsiteX0" fmla="*/ 1925620 w 5242560"/>
              <a:gd name="connsiteY0" fmla="*/ 170953 h 7018195"/>
              <a:gd name="connsiteX1" fmla="*/ 5242560 w 5242560"/>
              <a:gd name="connsiteY1" fmla="*/ 160195 h 7018195"/>
              <a:gd name="connsiteX2" fmla="*/ 5242560 w 5242560"/>
              <a:gd name="connsiteY2" fmla="*/ 160195 h 7018195"/>
              <a:gd name="connsiteX3" fmla="*/ 5242560 w 5242560"/>
              <a:gd name="connsiteY3" fmla="*/ 7018195 h 7018195"/>
              <a:gd name="connsiteX4" fmla="*/ 5242560 w 5242560"/>
              <a:gd name="connsiteY4" fmla="*/ 7018195 h 7018195"/>
              <a:gd name="connsiteX5" fmla="*/ 957432 w 5242560"/>
              <a:gd name="connsiteY5" fmla="*/ 7018195 h 7018195"/>
              <a:gd name="connsiteX6" fmla="*/ 0 w 5242560"/>
              <a:gd name="connsiteY6" fmla="*/ 2440816 h 7018195"/>
              <a:gd name="connsiteX7" fmla="*/ 1925620 w 5242560"/>
              <a:gd name="connsiteY7" fmla="*/ 170953 h 7018195"/>
              <a:gd name="connsiteX0" fmla="*/ 1925620 w 5242560"/>
              <a:gd name="connsiteY0" fmla="*/ 10758 h 6858000"/>
              <a:gd name="connsiteX1" fmla="*/ 5242560 w 5242560"/>
              <a:gd name="connsiteY1" fmla="*/ 0 h 6858000"/>
              <a:gd name="connsiteX2" fmla="*/ 5242560 w 5242560"/>
              <a:gd name="connsiteY2" fmla="*/ 0 h 6858000"/>
              <a:gd name="connsiteX3" fmla="*/ 5242560 w 5242560"/>
              <a:gd name="connsiteY3" fmla="*/ 6858000 h 6858000"/>
              <a:gd name="connsiteX4" fmla="*/ 5242560 w 5242560"/>
              <a:gd name="connsiteY4" fmla="*/ 6858000 h 6858000"/>
              <a:gd name="connsiteX5" fmla="*/ 957432 w 5242560"/>
              <a:gd name="connsiteY5" fmla="*/ 6858000 h 6858000"/>
              <a:gd name="connsiteX6" fmla="*/ 0 w 5242560"/>
              <a:gd name="connsiteY6" fmla="*/ 2280621 h 6858000"/>
              <a:gd name="connsiteX7" fmla="*/ 1925620 w 5242560"/>
              <a:gd name="connsiteY7" fmla="*/ 10758 h 6858000"/>
              <a:gd name="connsiteX0" fmla="*/ 1925620 w 5242560"/>
              <a:gd name="connsiteY0" fmla="*/ 10758 h 6858000"/>
              <a:gd name="connsiteX1" fmla="*/ 5242560 w 5242560"/>
              <a:gd name="connsiteY1" fmla="*/ 0 h 6858000"/>
              <a:gd name="connsiteX2" fmla="*/ 5242560 w 5242560"/>
              <a:gd name="connsiteY2" fmla="*/ 0 h 6858000"/>
              <a:gd name="connsiteX3" fmla="*/ 5242560 w 5242560"/>
              <a:gd name="connsiteY3" fmla="*/ 6858000 h 6858000"/>
              <a:gd name="connsiteX4" fmla="*/ 5242560 w 5242560"/>
              <a:gd name="connsiteY4" fmla="*/ 6858000 h 6858000"/>
              <a:gd name="connsiteX5" fmla="*/ 957432 w 5242560"/>
              <a:gd name="connsiteY5" fmla="*/ 6858000 h 6858000"/>
              <a:gd name="connsiteX6" fmla="*/ 0 w 5242560"/>
              <a:gd name="connsiteY6" fmla="*/ 2280621 h 6858000"/>
              <a:gd name="connsiteX7" fmla="*/ 1925620 w 5242560"/>
              <a:gd name="connsiteY7" fmla="*/ 10758 h 6858000"/>
              <a:gd name="connsiteX0" fmla="*/ 1925836 w 5242776"/>
              <a:gd name="connsiteY0" fmla="*/ 10758 h 6858000"/>
              <a:gd name="connsiteX1" fmla="*/ 5242776 w 5242776"/>
              <a:gd name="connsiteY1" fmla="*/ 0 h 6858000"/>
              <a:gd name="connsiteX2" fmla="*/ 5242776 w 5242776"/>
              <a:gd name="connsiteY2" fmla="*/ 0 h 6858000"/>
              <a:gd name="connsiteX3" fmla="*/ 5242776 w 5242776"/>
              <a:gd name="connsiteY3" fmla="*/ 6858000 h 6858000"/>
              <a:gd name="connsiteX4" fmla="*/ 5242776 w 5242776"/>
              <a:gd name="connsiteY4" fmla="*/ 6858000 h 6858000"/>
              <a:gd name="connsiteX5" fmla="*/ 957648 w 5242776"/>
              <a:gd name="connsiteY5" fmla="*/ 6858000 h 6858000"/>
              <a:gd name="connsiteX6" fmla="*/ 216 w 5242776"/>
              <a:gd name="connsiteY6" fmla="*/ 2280621 h 6858000"/>
              <a:gd name="connsiteX7" fmla="*/ 1925836 w 5242776"/>
              <a:gd name="connsiteY7" fmla="*/ 10758 h 6858000"/>
              <a:gd name="connsiteX0" fmla="*/ 1925830 w 5242770"/>
              <a:gd name="connsiteY0" fmla="*/ 10758 h 6858000"/>
              <a:gd name="connsiteX1" fmla="*/ 5242770 w 5242770"/>
              <a:gd name="connsiteY1" fmla="*/ 0 h 6858000"/>
              <a:gd name="connsiteX2" fmla="*/ 5242770 w 5242770"/>
              <a:gd name="connsiteY2" fmla="*/ 0 h 6858000"/>
              <a:gd name="connsiteX3" fmla="*/ 5242770 w 5242770"/>
              <a:gd name="connsiteY3" fmla="*/ 6858000 h 6858000"/>
              <a:gd name="connsiteX4" fmla="*/ 5242770 w 5242770"/>
              <a:gd name="connsiteY4" fmla="*/ 6858000 h 6858000"/>
              <a:gd name="connsiteX5" fmla="*/ 957642 w 5242770"/>
              <a:gd name="connsiteY5" fmla="*/ 6858000 h 6858000"/>
              <a:gd name="connsiteX6" fmla="*/ 210 w 5242770"/>
              <a:gd name="connsiteY6" fmla="*/ 2280621 h 6858000"/>
              <a:gd name="connsiteX7" fmla="*/ 1925830 w 5242770"/>
              <a:gd name="connsiteY7" fmla="*/ 10758 h 6858000"/>
              <a:gd name="connsiteX0" fmla="*/ 1925830 w 5242770"/>
              <a:gd name="connsiteY0" fmla="*/ 177326 h 7024568"/>
              <a:gd name="connsiteX1" fmla="*/ 5242770 w 5242770"/>
              <a:gd name="connsiteY1" fmla="*/ 166568 h 7024568"/>
              <a:gd name="connsiteX2" fmla="*/ 5242770 w 5242770"/>
              <a:gd name="connsiteY2" fmla="*/ 166568 h 7024568"/>
              <a:gd name="connsiteX3" fmla="*/ 5242770 w 5242770"/>
              <a:gd name="connsiteY3" fmla="*/ 7024568 h 7024568"/>
              <a:gd name="connsiteX4" fmla="*/ 5242770 w 5242770"/>
              <a:gd name="connsiteY4" fmla="*/ 7024568 h 7024568"/>
              <a:gd name="connsiteX5" fmla="*/ 957642 w 5242770"/>
              <a:gd name="connsiteY5" fmla="*/ 7024568 h 7024568"/>
              <a:gd name="connsiteX6" fmla="*/ 210 w 5242770"/>
              <a:gd name="connsiteY6" fmla="*/ 2533250 h 7024568"/>
              <a:gd name="connsiteX7" fmla="*/ 1925830 w 5242770"/>
              <a:gd name="connsiteY7" fmla="*/ 177326 h 7024568"/>
              <a:gd name="connsiteX0" fmla="*/ 1915073 w 5232013"/>
              <a:gd name="connsiteY0" fmla="*/ 182107 h 7029349"/>
              <a:gd name="connsiteX1" fmla="*/ 5232013 w 5232013"/>
              <a:gd name="connsiteY1" fmla="*/ 171349 h 7029349"/>
              <a:gd name="connsiteX2" fmla="*/ 5232013 w 5232013"/>
              <a:gd name="connsiteY2" fmla="*/ 171349 h 7029349"/>
              <a:gd name="connsiteX3" fmla="*/ 5232013 w 5232013"/>
              <a:gd name="connsiteY3" fmla="*/ 7029349 h 7029349"/>
              <a:gd name="connsiteX4" fmla="*/ 5232013 w 5232013"/>
              <a:gd name="connsiteY4" fmla="*/ 7029349 h 7029349"/>
              <a:gd name="connsiteX5" fmla="*/ 946885 w 5232013"/>
              <a:gd name="connsiteY5" fmla="*/ 7029349 h 7029349"/>
              <a:gd name="connsiteX6" fmla="*/ 211 w 5232013"/>
              <a:gd name="connsiteY6" fmla="*/ 2602577 h 7029349"/>
              <a:gd name="connsiteX7" fmla="*/ 1915073 w 5232013"/>
              <a:gd name="connsiteY7" fmla="*/ 182107 h 7029349"/>
              <a:gd name="connsiteX0" fmla="*/ 1915073 w 5232013"/>
              <a:gd name="connsiteY0" fmla="*/ 15160 h 6862402"/>
              <a:gd name="connsiteX1" fmla="*/ 5232013 w 5232013"/>
              <a:gd name="connsiteY1" fmla="*/ 4402 h 6862402"/>
              <a:gd name="connsiteX2" fmla="*/ 5232013 w 5232013"/>
              <a:gd name="connsiteY2" fmla="*/ 4402 h 6862402"/>
              <a:gd name="connsiteX3" fmla="*/ 5232013 w 5232013"/>
              <a:gd name="connsiteY3" fmla="*/ 6862402 h 6862402"/>
              <a:gd name="connsiteX4" fmla="*/ 5232013 w 5232013"/>
              <a:gd name="connsiteY4" fmla="*/ 6862402 h 6862402"/>
              <a:gd name="connsiteX5" fmla="*/ 946885 w 5232013"/>
              <a:gd name="connsiteY5" fmla="*/ 6862402 h 6862402"/>
              <a:gd name="connsiteX6" fmla="*/ 211 w 5232013"/>
              <a:gd name="connsiteY6" fmla="*/ 2435630 h 6862402"/>
              <a:gd name="connsiteX7" fmla="*/ 1915073 w 5232013"/>
              <a:gd name="connsiteY7" fmla="*/ 15160 h 6862402"/>
              <a:gd name="connsiteX0" fmla="*/ 1915073 w 5232013"/>
              <a:gd name="connsiteY0" fmla="*/ 10758 h 6858000"/>
              <a:gd name="connsiteX1" fmla="*/ 5232013 w 5232013"/>
              <a:gd name="connsiteY1" fmla="*/ 0 h 6858000"/>
              <a:gd name="connsiteX2" fmla="*/ 5232013 w 5232013"/>
              <a:gd name="connsiteY2" fmla="*/ 0 h 6858000"/>
              <a:gd name="connsiteX3" fmla="*/ 5232013 w 5232013"/>
              <a:gd name="connsiteY3" fmla="*/ 6858000 h 6858000"/>
              <a:gd name="connsiteX4" fmla="*/ 5232013 w 5232013"/>
              <a:gd name="connsiteY4" fmla="*/ 6858000 h 6858000"/>
              <a:gd name="connsiteX5" fmla="*/ 946885 w 5232013"/>
              <a:gd name="connsiteY5" fmla="*/ 6858000 h 6858000"/>
              <a:gd name="connsiteX6" fmla="*/ 211 w 5232013"/>
              <a:gd name="connsiteY6" fmla="*/ 2431228 h 6858000"/>
              <a:gd name="connsiteX7" fmla="*/ 1915073 w 5232013"/>
              <a:gd name="connsiteY7" fmla="*/ 10758 h 6858000"/>
              <a:gd name="connsiteX0" fmla="*/ 1925288 w 5242228"/>
              <a:gd name="connsiteY0" fmla="*/ 0 h 6861310"/>
              <a:gd name="connsiteX1" fmla="*/ 5242228 w 5242228"/>
              <a:gd name="connsiteY1" fmla="*/ 3310 h 6861310"/>
              <a:gd name="connsiteX2" fmla="*/ 5242228 w 5242228"/>
              <a:gd name="connsiteY2" fmla="*/ 3310 h 6861310"/>
              <a:gd name="connsiteX3" fmla="*/ 5242228 w 5242228"/>
              <a:gd name="connsiteY3" fmla="*/ 6861310 h 6861310"/>
              <a:gd name="connsiteX4" fmla="*/ 5242228 w 5242228"/>
              <a:gd name="connsiteY4" fmla="*/ 6861310 h 6861310"/>
              <a:gd name="connsiteX5" fmla="*/ 957100 w 5242228"/>
              <a:gd name="connsiteY5" fmla="*/ 6861310 h 6861310"/>
              <a:gd name="connsiteX6" fmla="*/ 10426 w 5242228"/>
              <a:gd name="connsiteY6" fmla="*/ 2434538 h 6861310"/>
              <a:gd name="connsiteX7" fmla="*/ 1925288 w 5242228"/>
              <a:gd name="connsiteY7" fmla="*/ 0 h 6861310"/>
              <a:gd name="connsiteX0" fmla="*/ 2047375 w 5244740"/>
              <a:gd name="connsiteY0" fmla="*/ 0 h 6868344"/>
              <a:gd name="connsiteX1" fmla="*/ 5244740 w 5244740"/>
              <a:gd name="connsiteY1" fmla="*/ 10344 h 6868344"/>
              <a:gd name="connsiteX2" fmla="*/ 5244740 w 5244740"/>
              <a:gd name="connsiteY2" fmla="*/ 10344 h 6868344"/>
              <a:gd name="connsiteX3" fmla="*/ 5244740 w 5244740"/>
              <a:gd name="connsiteY3" fmla="*/ 6868344 h 6868344"/>
              <a:gd name="connsiteX4" fmla="*/ 5244740 w 5244740"/>
              <a:gd name="connsiteY4" fmla="*/ 6868344 h 6868344"/>
              <a:gd name="connsiteX5" fmla="*/ 959612 w 5244740"/>
              <a:gd name="connsiteY5" fmla="*/ 6868344 h 6868344"/>
              <a:gd name="connsiteX6" fmla="*/ 12938 w 5244740"/>
              <a:gd name="connsiteY6" fmla="*/ 2441572 h 6868344"/>
              <a:gd name="connsiteX7" fmla="*/ 2047375 w 5244740"/>
              <a:gd name="connsiteY7" fmla="*/ 0 h 6868344"/>
              <a:gd name="connsiteX0" fmla="*/ 2047375 w 5244740"/>
              <a:gd name="connsiteY0" fmla="*/ 0 h 6868344"/>
              <a:gd name="connsiteX1" fmla="*/ 5244740 w 5244740"/>
              <a:gd name="connsiteY1" fmla="*/ 10344 h 6868344"/>
              <a:gd name="connsiteX2" fmla="*/ 5244740 w 5244740"/>
              <a:gd name="connsiteY2" fmla="*/ 10344 h 6868344"/>
              <a:gd name="connsiteX3" fmla="*/ 5244740 w 5244740"/>
              <a:gd name="connsiteY3" fmla="*/ 6868344 h 6868344"/>
              <a:gd name="connsiteX4" fmla="*/ 5244740 w 5244740"/>
              <a:gd name="connsiteY4" fmla="*/ 6868344 h 6868344"/>
              <a:gd name="connsiteX5" fmla="*/ 959612 w 5244740"/>
              <a:gd name="connsiteY5" fmla="*/ 6868344 h 6868344"/>
              <a:gd name="connsiteX6" fmla="*/ 12938 w 5244740"/>
              <a:gd name="connsiteY6" fmla="*/ 2441572 h 6868344"/>
              <a:gd name="connsiteX7" fmla="*/ 2047375 w 5244740"/>
              <a:gd name="connsiteY7" fmla="*/ 0 h 6868344"/>
              <a:gd name="connsiteX0" fmla="*/ 2034451 w 5231816"/>
              <a:gd name="connsiteY0" fmla="*/ 0 h 6868344"/>
              <a:gd name="connsiteX1" fmla="*/ 5231816 w 5231816"/>
              <a:gd name="connsiteY1" fmla="*/ 10344 h 6868344"/>
              <a:gd name="connsiteX2" fmla="*/ 5231816 w 5231816"/>
              <a:gd name="connsiteY2" fmla="*/ 10344 h 6868344"/>
              <a:gd name="connsiteX3" fmla="*/ 5231816 w 5231816"/>
              <a:gd name="connsiteY3" fmla="*/ 6868344 h 6868344"/>
              <a:gd name="connsiteX4" fmla="*/ 5231816 w 5231816"/>
              <a:gd name="connsiteY4" fmla="*/ 6868344 h 6868344"/>
              <a:gd name="connsiteX5" fmla="*/ 946688 w 5231816"/>
              <a:gd name="connsiteY5" fmla="*/ 6868344 h 6868344"/>
              <a:gd name="connsiteX6" fmla="*/ 14 w 5231816"/>
              <a:gd name="connsiteY6" fmla="*/ 2441572 h 6868344"/>
              <a:gd name="connsiteX7" fmla="*/ 2034451 w 5231816"/>
              <a:gd name="connsiteY7" fmla="*/ 0 h 6868344"/>
              <a:gd name="connsiteX0" fmla="*/ 2034451 w 5231816"/>
              <a:gd name="connsiteY0" fmla="*/ 31 h 6868375"/>
              <a:gd name="connsiteX1" fmla="*/ 5231816 w 5231816"/>
              <a:gd name="connsiteY1" fmla="*/ 10375 h 6868375"/>
              <a:gd name="connsiteX2" fmla="*/ 5231816 w 5231816"/>
              <a:gd name="connsiteY2" fmla="*/ 10375 h 6868375"/>
              <a:gd name="connsiteX3" fmla="*/ 5231816 w 5231816"/>
              <a:gd name="connsiteY3" fmla="*/ 6868375 h 6868375"/>
              <a:gd name="connsiteX4" fmla="*/ 5231816 w 5231816"/>
              <a:gd name="connsiteY4" fmla="*/ 6868375 h 6868375"/>
              <a:gd name="connsiteX5" fmla="*/ 946688 w 5231816"/>
              <a:gd name="connsiteY5" fmla="*/ 6868375 h 6868375"/>
              <a:gd name="connsiteX6" fmla="*/ 14 w 5231816"/>
              <a:gd name="connsiteY6" fmla="*/ 2441603 h 6868375"/>
              <a:gd name="connsiteX7" fmla="*/ 2034451 w 5231816"/>
              <a:gd name="connsiteY7" fmla="*/ 31 h 6868375"/>
              <a:gd name="connsiteX0" fmla="*/ 2034451 w 5231816"/>
              <a:gd name="connsiteY0" fmla="*/ 165693 h 7034037"/>
              <a:gd name="connsiteX1" fmla="*/ 5231816 w 5231816"/>
              <a:gd name="connsiteY1" fmla="*/ 176037 h 7034037"/>
              <a:gd name="connsiteX2" fmla="*/ 5231816 w 5231816"/>
              <a:gd name="connsiteY2" fmla="*/ 176037 h 7034037"/>
              <a:gd name="connsiteX3" fmla="*/ 5231816 w 5231816"/>
              <a:gd name="connsiteY3" fmla="*/ 7034037 h 7034037"/>
              <a:gd name="connsiteX4" fmla="*/ 5231816 w 5231816"/>
              <a:gd name="connsiteY4" fmla="*/ 7034037 h 7034037"/>
              <a:gd name="connsiteX5" fmla="*/ 946688 w 5231816"/>
              <a:gd name="connsiteY5" fmla="*/ 7034037 h 7034037"/>
              <a:gd name="connsiteX6" fmla="*/ 14 w 5231816"/>
              <a:gd name="connsiteY6" fmla="*/ 2438453 h 7034037"/>
              <a:gd name="connsiteX7" fmla="*/ 2034451 w 5231816"/>
              <a:gd name="connsiteY7" fmla="*/ 165693 h 7034037"/>
              <a:gd name="connsiteX0" fmla="*/ 2047375 w 5244740"/>
              <a:gd name="connsiteY0" fmla="*/ 165693 h 7034037"/>
              <a:gd name="connsiteX1" fmla="*/ 5244740 w 5244740"/>
              <a:gd name="connsiteY1" fmla="*/ 176037 h 7034037"/>
              <a:gd name="connsiteX2" fmla="*/ 5244740 w 5244740"/>
              <a:gd name="connsiteY2" fmla="*/ 176037 h 7034037"/>
              <a:gd name="connsiteX3" fmla="*/ 5244740 w 5244740"/>
              <a:gd name="connsiteY3" fmla="*/ 7034037 h 7034037"/>
              <a:gd name="connsiteX4" fmla="*/ 5244740 w 5244740"/>
              <a:gd name="connsiteY4" fmla="*/ 7034037 h 7034037"/>
              <a:gd name="connsiteX5" fmla="*/ 959612 w 5244740"/>
              <a:gd name="connsiteY5" fmla="*/ 7034037 h 7034037"/>
              <a:gd name="connsiteX6" fmla="*/ 12938 w 5244740"/>
              <a:gd name="connsiteY6" fmla="*/ 2438453 h 7034037"/>
              <a:gd name="connsiteX7" fmla="*/ 2047375 w 5244740"/>
              <a:gd name="connsiteY7" fmla="*/ 165693 h 7034037"/>
              <a:gd name="connsiteX0" fmla="*/ 2047375 w 5244740"/>
              <a:gd name="connsiteY0" fmla="*/ 6 h 6868350"/>
              <a:gd name="connsiteX1" fmla="*/ 5244740 w 5244740"/>
              <a:gd name="connsiteY1" fmla="*/ 10350 h 6868350"/>
              <a:gd name="connsiteX2" fmla="*/ 5244740 w 5244740"/>
              <a:gd name="connsiteY2" fmla="*/ 10350 h 6868350"/>
              <a:gd name="connsiteX3" fmla="*/ 5244740 w 5244740"/>
              <a:gd name="connsiteY3" fmla="*/ 6868350 h 6868350"/>
              <a:gd name="connsiteX4" fmla="*/ 5244740 w 5244740"/>
              <a:gd name="connsiteY4" fmla="*/ 6868350 h 6868350"/>
              <a:gd name="connsiteX5" fmla="*/ 959612 w 5244740"/>
              <a:gd name="connsiteY5" fmla="*/ 6868350 h 6868350"/>
              <a:gd name="connsiteX6" fmla="*/ 12938 w 5244740"/>
              <a:gd name="connsiteY6" fmla="*/ 2272766 h 6868350"/>
              <a:gd name="connsiteX7" fmla="*/ 2047375 w 5244740"/>
              <a:gd name="connsiteY7" fmla="*/ 6 h 6868350"/>
              <a:gd name="connsiteX0" fmla="*/ 2034611 w 5231976"/>
              <a:gd name="connsiteY0" fmla="*/ 6 h 6868350"/>
              <a:gd name="connsiteX1" fmla="*/ 5231976 w 5231976"/>
              <a:gd name="connsiteY1" fmla="*/ 10350 h 6868350"/>
              <a:gd name="connsiteX2" fmla="*/ 5231976 w 5231976"/>
              <a:gd name="connsiteY2" fmla="*/ 10350 h 6868350"/>
              <a:gd name="connsiteX3" fmla="*/ 5231976 w 5231976"/>
              <a:gd name="connsiteY3" fmla="*/ 6868350 h 6868350"/>
              <a:gd name="connsiteX4" fmla="*/ 5231976 w 5231976"/>
              <a:gd name="connsiteY4" fmla="*/ 6868350 h 6868350"/>
              <a:gd name="connsiteX5" fmla="*/ 946848 w 5231976"/>
              <a:gd name="connsiteY5" fmla="*/ 6868350 h 6868350"/>
              <a:gd name="connsiteX6" fmla="*/ 174 w 5231976"/>
              <a:gd name="connsiteY6" fmla="*/ 2272766 h 6868350"/>
              <a:gd name="connsiteX7" fmla="*/ 2034611 w 5231976"/>
              <a:gd name="connsiteY7" fmla="*/ 6 h 6868350"/>
              <a:gd name="connsiteX0" fmla="*/ 2034612 w 5231977"/>
              <a:gd name="connsiteY0" fmla="*/ 6 h 6868350"/>
              <a:gd name="connsiteX1" fmla="*/ 5231977 w 5231977"/>
              <a:gd name="connsiteY1" fmla="*/ 10350 h 6868350"/>
              <a:gd name="connsiteX2" fmla="*/ 5231977 w 5231977"/>
              <a:gd name="connsiteY2" fmla="*/ 10350 h 6868350"/>
              <a:gd name="connsiteX3" fmla="*/ 5231977 w 5231977"/>
              <a:gd name="connsiteY3" fmla="*/ 6868350 h 6868350"/>
              <a:gd name="connsiteX4" fmla="*/ 5231977 w 5231977"/>
              <a:gd name="connsiteY4" fmla="*/ 6868350 h 6868350"/>
              <a:gd name="connsiteX5" fmla="*/ 946849 w 5231977"/>
              <a:gd name="connsiteY5" fmla="*/ 6868350 h 6868350"/>
              <a:gd name="connsiteX6" fmla="*/ 175 w 5231977"/>
              <a:gd name="connsiteY6" fmla="*/ 2272766 h 6868350"/>
              <a:gd name="connsiteX7" fmla="*/ 2034612 w 5231977"/>
              <a:gd name="connsiteY7" fmla="*/ 6 h 6868350"/>
              <a:gd name="connsiteX0" fmla="*/ 2041645 w 5239010"/>
              <a:gd name="connsiteY0" fmla="*/ 181322 h 7049666"/>
              <a:gd name="connsiteX1" fmla="*/ 5239010 w 5239010"/>
              <a:gd name="connsiteY1" fmla="*/ 191666 h 7049666"/>
              <a:gd name="connsiteX2" fmla="*/ 5239010 w 5239010"/>
              <a:gd name="connsiteY2" fmla="*/ 191666 h 7049666"/>
              <a:gd name="connsiteX3" fmla="*/ 5239010 w 5239010"/>
              <a:gd name="connsiteY3" fmla="*/ 7049666 h 7049666"/>
              <a:gd name="connsiteX4" fmla="*/ 5239010 w 5239010"/>
              <a:gd name="connsiteY4" fmla="*/ 7049666 h 7049666"/>
              <a:gd name="connsiteX5" fmla="*/ 953882 w 5239010"/>
              <a:gd name="connsiteY5" fmla="*/ 7049666 h 7049666"/>
              <a:gd name="connsiteX6" fmla="*/ 175 w 5239010"/>
              <a:gd name="connsiteY6" fmla="*/ 2665097 h 7049666"/>
              <a:gd name="connsiteX7" fmla="*/ 2041645 w 5239010"/>
              <a:gd name="connsiteY7" fmla="*/ 181322 h 7049666"/>
              <a:gd name="connsiteX0" fmla="*/ 2041645 w 5239010"/>
              <a:gd name="connsiteY0" fmla="*/ 0 h 6868344"/>
              <a:gd name="connsiteX1" fmla="*/ 5239010 w 5239010"/>
              <a:gd name="connsiteY1" fmla="*/ 10344 h 6868344"/>
              <a:gd name="connsiteX2" fmla="*/ 5239010 w 5239010"/>
              <a:gd name="connsiteY2" fmla="*/ 10344 h 6868344"/>
              <a:gd name="connsiteX3" fmla="*/ 5239010 w 5239010"/>
              <a:gd name="connsiteY3" fmla="*/ 6868344 h 6868344"/>
              <a:gd name="connsiteX4" fmla="*/ 5239010 w 5239010"/>
              <a:gd name="connsiteY4" fmla="*/ 6868344 h 6868344"/>
              <a:gd name="connsiteX5" fmla="*/ 953882 w 5239010"/>
              <a:gd name="connsiteY5" fmla="*/ 6868344 h 6868344"/>
              <a:gd name="connsiteX6" fmla="*/ 175 w 5239010"/>
              <a:gd name="connsiteY6" fmla="*/ 2483775 h 6868344"/>
              <a:gd name="connsiteX7" fmla="*/ 2041645 w 5239010"/>
              <a:gd name="connsiteY7" fmla="*/ 0 h 6868344"/>
              <a:gd name="connsiteX0" fmla="*/ 2041645 w 5239010"/>
              <a:gd name="connsiteY0" fmla="*/ 9656 h 6878000"/>
              <a:gd name="connsiteX1" fmla="*/ 5239010 w 5239010"/>
              <a:gd name="connsiteY1" fmla="*/ 20000 h 6878000"/>
              <a:gd name="connsiteX2" fmla="*/ 5239010 w 5239010"/>
              <a:gd name="connsiteY2" fmla="*/ 20000 h 6878000"/>
              <a:gd name="connsiteX3" fmla="*/ 5239010 w 5239010"/>
              <a:gd name="connsiteY3" fmla="*/ 6878000 h 6878000"/>
              <a:gd name="connsiteX4" fmla="*/ 5239010 w 5239010"/>
              <a:gd name="connsiteY4" fmla="*/ 6878000 h 6878000"/>
              <a:gd name="connsiteX5" fmla="*/ 953882 w 5239010"/>
              <a:gd name="connsiteY5" fmla="*/ 6878000 h 6878000"/>
              <a:gd name="connsiteX6" fmla="*/ 175 w 5239010"/>
              <a:gd name="connsiteY6" fmla="*/ 2493431 h 6878000"/>
              <a:gd name="connsiteX7" fmla="*/ 2041645 w 5239010"/>
              <a:gd name="connsiteY7" fmla="*/ 9656 h 6878000"/>
              <a:gd name="connsiteX0" fmla="*/ 2048678 w 5246043"/>
              <a:gd name="connsiteY0" fmla="*/ 169861 h 7038205"/>
              <a:gd name="connsiteX1" fmla="*/ 5246043 w 5246043"/>
              <a:gd name="connsiteY1" fmla="*/ 180205 h 7038205"/>
              <a:gd name="connsiteX2" fmla="*/ 5246043 w 5246043"/>
              <a:gd name="connsiteY2" fmla="*/ 180205 h 7038205"/>
              <a:gd name="connsiteX3" fmla="*/ 5246043 w 5246043"/>
              <a:gd name="connsiteY3" fmla="*/ 7038205 h 7038205"/>
              <a:gd name="connsiteX4" fmla="*/ 5246043 w 5246043"/>
              <a:gd name="connsiteY4" fmla="*/ 7038205 h 7038205"/>
              <a:gd name="connsiteX5" fmla="*/ 960915 w 5246043"/>
              <a:gd name="connsiteY5" fmla="*/ 7038205 h 7038205"/>
              <a:gd name="connsiteX6" fmla="*/ 174 w 5246043"/>
              <a:gd name="connsiteY6" fmla="*/ 2498892 h 7038205"/>
              <a:gd name="connsiteX7" fmla="*/ 2048678 w 5246043"/>
              <a:gd name="connsiteY7" fmla="*/ 169861 h 7038205"/>
              <a:gd name="connsiteX0" fmla="*/ 2048678 w 5246043"/>
              <a:gd name="connsiteY0" fmla="*/ 37 h 6868381"/>
              <a:gd name="connsiteX1" fmla="*/ 5246043 w 5246043"/>
              <a:gd name="connsiteY1" fmla="*/ 10381 h 6868381"/>
              <a:gd name="connsiteX2" fmla="*/ 5246043 w 5246043"/>
              <a:gd name="connsiteY2" fmla="*/ 10381 h 6868381"/>
              <a:gd name="connsiteX3" fmla="*/ 5246043 w 5246043"/>
              <a:gd name="connsiteY3" fmla="*/ 6868381 h 6868381"/>
              <a:gd name="connsiteX4" fmla="*/ 5246043 w 5246043"/>
              <a:gd name="connsiteY4" fmla="*/ 6868381 h 6868381"/>
              <a:gd name="connsiteX5" fmla="*/ 960915 w 5246043"/>
              <a:gd name="connsiteY5" fmla="*/ 6868381 h 6868381"/>
              <a:gd name="connsiteX6" fmla="*/ 174 w 5246043"/>
              <a:gd name="connsiteY6" fmla="*/ 2329068 h 6868381"/>
              <a:gd name="connsiteX7" fmla="*/ 2048678 w 5246043"/>
              <a:gd name="connsiteY7" fmla="*/ 37 h 6868381"/>
              <a:gd name="connsiteX0" fmla="*/ 2048678 w 5246043"/>
              <a:gd name="connsiteY0" fmla="*/ 0 h 6868344"/>
              <a:gd name="connsiteX1" fmla="*/ 5246043 w 5246043"/>
              <a:gd name="connsiteY1" fmla="*/ 10344 h 6868344"/>
              <a:gd name="connsiteX2" fmla="*/ 5246043 w 5246043"/>
              <a:gd name="connsiteY2" fmla="*/ 10344 h 6868344"/>
              <a:gd name="connsiteX3" fmla="*/ 5246043 w 5246043"/>
              <a:gd name="connsiteY3" fmla="*/ 6868344 h 6868344"/>
              <a:gd name="connsiteX4" fmla="*/ 5246043 w 5246043"/>
              <a:gd name="connsiteY4" fmla="*/ 6868344 h 6868344"/>
              <a:gd name="connsiteX5" fmla="*/ 960915 w 5246043"/>
              <a:gd name="connsiteY5" fmla="*/ 6868344 h 6868344"/>
              <a:gd name="connsiteX6" fmla="*/ 174 w 5246043"/>
              <a:gd name="connsiteY6" fmla="*/ 2329031 h 6868344"/>
              <a:gd name="connsiteX7" fmla="*/ 2048678 w 5246043"/>
              <a:gd name="connsiteY7" fmla="*/ 0 h 6868344"/>
              <a:gd name="connsiteX0" fmla="*/ 2048678 w 5246043"/>
              <a:gd name="connsiteY0" fmla="*/ 0 h 6868344"/>
              <a:gd name="connsiteX1" fmla="*/ 5246043 w 5246043"/>
              <a:gd name="connsiteY1" fmla="*/ 10344 h 6868344"/>
              <a:gd name="connsiteX2" fmla="*/ 5246043 w 5246043"/>
              <a:gd name="connsiteY2" fmla="*/ 10344 h 6868344"/>
              <a:gd name="connsiteX3" fmla="*/ 5246043 w 5246043"/>
              <a:gd name="connsiteY3" fmla="*/ 6868344 h 6868344"/>
              <a:gd name="connsiteX4" fmla="*/ 5246043 w 5246043"/>
              <a:gd name="connsiteY4" fmla="*/ 6868344 h 6868344"/>
              <a:gd name="connsiteX5" fmla="*/ 960915 w 5246043"/>
              <a:gd name="connsiteY5" fmla="*/ 6868344 h 6868344"/>
              <a:gd name="connsiteX6" fmla="*/ 174 w 5246043"/>
              <a:gd name="connsiteY6" fmla="*/ 2329031 h 6868344"/>
              <a:gd name="connsiteX7" fmla="*/ 2048678 w 5246043"/>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48553 w 5245918"/>
              <a:gd name="connsiteY0" fmla="*/ 0 h 6868344"/>
              <a:gd name="connsiteX1" fmla="*/ 5245918 w 5245918"/>
              <a:gd name="connsiteY1" fmla="*/ 10344 h 6868344"/>
              <a:gd name="connsiteX2" fmla="*/ 5245918 w 5245918"/>
              <a:gd name="connsiteY2" fmla="*/ 10344 h 6868344"/>
              <a:gd name="connsiteX3" fmla="*/ 5245918 w 5245918"/>
              <a:gd name="connsiteY3" fmla="*/ 6868344 h 6868344"/>
              <a:gd name="connsiteX4" fmla="*/ 5245918 w 5245918"/>
              <a:gd name="connsiteY4" fmla="*/ 6868344 h 6868344"/>
              <a:gd name="connsiteX5" fmla="*/ 960790 w 5245918"/>
              <a:gd name="connsiteY5" fmla="*/ 6868344 h 6868344"/>
              <a:gd name="connsiteX6" fmla="*/ 49 w 5245918"/>
              <a:gd name="connsiteY6" fmla="*/ 2329031 h 6868344"/>
              <a:gd name="connsiteX7" fmla="*/ 2048553 w 5245918"/>
              <a:gd name="connsiteY7" fmla="*/ 0 h 6868344"/>
              <a:gd name="connsiteX0" fmla="*/ 2055583 w 5252948"/>
              <a:gd name="connsiteY0" fmla="*/ 176113 h 7044457"/>
              <a:gd name="connsiteX1" fmla="*/ 5252948 w 5252948"/>
              <a:gd name="connsiteY1" fmla="*/ 186457 h 7044457"/>
              <a:gd name="connsiteX2" fmla="*/ 5252948 w 5252948"/>
              <a:gd name="connsiteY2" fmla="*/ 186457 h 7044457"/>
              <a:gd name="connsiteX3" fmla="*/ 5252948 w 5252948"/>
              <a:gd name="connsiteY3" fmla="*/ 7044457 h 7044457"/>
              <a:gd name="connsiteX4" fmla="*/ 5252948 w 5252948"/>
              <a:gd name="connsiteY4" fmla="*/ 7044457 h 7044457"/>
              <a:gd name="connsiteX5" fmla="*/ 967820 w 5252948"/>
              <a:gd name="connsiteY5" fmla="*/ 7044457 h 7044457"/>
              <a:gd name="connsiteX6" fmla="*/ 46 w 5252948"/>
              <a:gd name="connsiteY6" fmla="*/ 2589550 h 7044457"/>
              <a:gd name="connsiteX7" fmla="*/ 2055583 w 5252948"/>
              <a:gd name="connsiteY7" fmla="*/ 176113 h 7044457"/>
              <a:gd name="connsiteX0" fmla="*/ 2055589 w 5252954"/>
              <a:gd name="connsiteY0" fmla="*/ 1 h 6868345"/>
              <a:gd name="connsiteX1" fmla="*/ 5252954 w 5252954"/>
              <a:gd name="connsiteY1" fmla="*/ 10345 h 6868345"/>
              <a:gd name="connsiteX2" fmla="*/ 5252954 w 5252954"/>
              <a:gd name="connsiteY2" fmla="*/ 10345 h 6868345"/>
              <a:gd name="connsiteX3" fmla="*/ 5252954 w 5252954"/>
              <a:gd name="connsiteY3" fmla="*/ 6868345 h 6868345"/>
              <a:gd name="connsiteX4" fmla="*/ 5252954 w 5252954"/>
              <a:gd name="connsiteY4" fmla="*/ 6868345 h 6868345"/>
              <a:gd name="connsiteX5" fmla="*/ 967826 w 5252954"/>
              <a:gd name="connsiteY5" fmla="*/ 6868345 h 6868345"/>
              <a:gd name="connsiteX6" fmla="*/ 52 w 5252954"/>
              <a:gd name="connsiteY6" fmla="*/ 2413438 h 6868345"/>
              <a:gd name="connsiteX7" fmla="*/ 2055589 w 5252954"/>
              <a:gd name="connsiteY7" fmla="*/ 1 h 6868345"/>
              <a:gd name="connsiteX0" fmla="*/ 2119337 w 5267465"/>
              <a:gd name="connsiteY0" fmla="*/ 1 h 6868345"/>
              <a:gd name="connsiteX1" fmla="*/ 5267465 w 5267465"/>
              <a:gd name="connsiteY1" fmla="*/ 10345 h 6868345"/>
              <a:gd name="connsiteX2" fmla="*/ 5267465 w 5267465"/>
              <a:gd name="connsiteY2" fmla="*/ 10345 h 6868345"/>
              <a:gd name="connsiteX3" fmla="*/ 5267465 w 5267465"/>
              <a:gd name="connsiteY3" fmla="*/ 6868345 h 6868345"/>
              <a:gd name="connsiteX4" fmla="*/ 5267465 w 5267465"/>
              <a:gd name="connsiteY4" fmla="*/ 6868345 h 6868345"/>
              <a:gd name="connsiteX5" fmla="*/ 982337 w 5267465"/>
              <a:gd name="connsiteY5" fmla="*/ 6868345 h 6868345"/>
              <a:gd name="connsiteX6" fmla="*/ 14563 w 5267465"/>
              <a:gd name="connsiteY6" fmla="*/ 2413438 h 6868345"/>
              <a:gd name="connsiteX7" fmla="*/ 2119337 w 5267465"/>
              <a:gd name="connsiteY7" fmla="*/ 1 h 6868345"/>
              <a:gd name="connsiteX0" fmla="*/ 2119337 w 5267465"/>
              <a:gd name="connsiteY0" fmla="*/ 19948 h 6888292"/>
              <a:gd name="connsiteX1" fmla="*/ 5267465 w 5267465"/>
              <a:gd name="connsiteY1" fmla="*/ 30292 h 6888292"/>
              <a:gd name="connsiteX2" fmla="*/ 5267465 w 5267465"/>
              <a:gd name="connsiteY2" fmla="*/ 30292 h 6888292"/>
              <a:gd name="connsiteX3" fmla="*/ 5267465 w 5267465"/>
              <a:gd name="connsiteY3" fmla="*/ 6888292 h 6888292"/>
              <a:gd name="connsiteX4" fmla="*/ 5267465 w 5267465"/>
              <a:gd name="connsiteY4" fmla="*/ 6888292 h 6888292"/>
              <a:gd name="connsiteX5" fmla="*/ 982337 w 5267465"/>
              <a:gd name="connsiteY5" fmla="*/ 6888292 h 6888292"/>
              <a:gd name="connsiteX6" fmla="*/ 14563 w 5267465"/>
              <a:gd name="connsiteY6" fmla="*/ 2433385 h 6888292"/>
              <a:gd name="connsiteX7" fmla="*/ 2119337 w 5267465"/>
              <a:gd name="connsiteY7" fmla="*/ 19948 h 6888292"/>
              <a:gd name="connsiteX0" fmla="*/ 2011440 w 5265076"/>
              <a:gd name="connsiteY0" fmla="*/ 19948 h 6888292"/>
              <a:gd name="connsiteX1" fmla="*/ 5265076 w 5265076"/>
              <a:gd name="connsiteY1" fmla="*/ 30292 h 6888292"/>
              <a:gd name="connsiteX2" fmla="*/ 5265076 w 5265076"/>
              <a:gd name="connsiteY2" fmla="*/ 30292 h 6888292"/>
              <a:gd name="connsiteX3" fmla="*/ 5265076 w 5265076"/>
              <a:gd name="connsiteY3" fmla="*/ 6888292 h 6888292"/>
              <a:gd name="connsiteX4" fmla="*/ 5265076 w 5265076"/>
              <a:gd name="connsiteY4" fmla="*/ 6888292 h 6888292"/>
              <a:gd name="connsiteX5" fmla="*/ 979948 w 5265076"/>
              <a:gd name="connsiteY5" fmla="*/ 6888292 h 6888292"/>
              <a:gd name="connsiteX6" fmla="*/ 12174 w 5265076"/>
              <a:gd name="connsiteY6" fmla="*/ 2433385 h 6888292"/>
              <a:gd name="connsiteX7" fmla="*/ 2011440 w 5265076"/>
              <a:gd name="connsiteY7" fmla="*/ 19948 h 6888292"/>
              <a:gd name="connsiteX0" fmla="*/ 2011440 w 5265076"/>
              <a:gd name="connsiteY0" fmla="*/ 0 h 6868344"/>
              <a:gd name="connsiteX1" fmla="*/ 5265076 w 5265076"/>
              <a:gd name="connsiteY1" fmla="*/ 10344 h 6868344"/>
              <a:gd name="connsiteX2" fmla="*/ 5265076 w 5265076"/>
              <a:gd name="connsiteY2" fmla="*/ 10344 h 6868344"/>
              <a:gd name="connsiteX3" fmla="*/ 5265076 w 5265076"/>
              <a:gd name="connsiteY3" fmla="*/ 6868344 h 6868344"/>
              <a:gd name="connsiteX4" fmla="*/ 5265076 w 5265076"/>
              <a:gd name="connsiteY4" fmla="*/ 6868344 h 6868344"/>
              <a:gd name="connsiteX5" fmla="*/ 979948 w 5265076"/>
              <a:gd name="connsiteY5" fmla="*/ 6868344 h 6868344"/>
              <a:gd name="connsiteX6" fmla="*/ 12174 w 5265076"/>
              <a:gd name="connsiteY6" fmla="*/ 2413437 h 6868344"/>
              <a:gd name="connsiteX7" fmla="*/ 2011440 w 5265076"/>
              <a:gd name="connsiteY7" fmla="*/ 0 h 6868344"/>
              <a:gd name="connsiteX0" fmla="*/ 2097744 w 5266973"/>
              <a:gd name="connsiteY0" fmla="*/ 0 h 6861310"/>
              <a:gd name="connsiteX1" fmla="*/ 5266973 w 5266973"/>
              <a:gd name="connsiteY1" fmla="*/ 3310 h 6861310"/>
              <a:gd name="connsiteX2" fmla="*/ 5266973 w 5266973"/>
              <a:gd name="connsiteY2" fmla="*/ 3310 h 6861310"/>
              <a:gd name="connsiteX3" fmla="*/ 5266973 w 5266973"/>
              <a:gd name="connsiteY3" fmla="*/ 6861310 h 6861310"/>
              <a:gd name="connsiteX4" fmla="*/ 5266973 w 5266973"/>
              <a:gd name="connsiteY4" fmla="*/ 6861310 h 6861310"/>
              <a:gd name="connsiteX5" fmla="*/ 981845 w 5266973"/>
              <a:gd name="connsiteY5" fmla="*/ 6861310 h 6861310"/>
              <a:gd name="connsiteX6" fmla="*/ 14071 w 5266973"/>
              <a:gd name="connsiteY6" fmla="*/ 2406403 h 6861310"/>
              <a:gd name="connsiteX7" fmla="*/ 2097744 w 5266973"/>
              <a:gd name="connsiteY7" fmla="*/ 0 h 6861310"/>
              <a:gd name="connsiteX0" fmla="*/ 2083752 w 5252981"/>
              <a:gd name="connsiteY0" fmla="*/ 0 h 6861310"/>
              <a:gd name="connsiteX1" fmla="*/ 5252981 w 5252981"/>
              <a:gd name="connsiteY1" fmla="*/ 3310 h 6861310"/>
              <a:gd name="connsiteX2" fmla="*/ 5252981 w 5252981"/>
              <a:gd name="connsiteY2" fmla="*/ 3310 h 6861310"/>
              <a:gd name="connsiteX3" fmla="*/ 5252981 w 5252981"/>
              <a:gd name="connsiteY3" fmla="*/ 6861310 h 6861310"/>
              <a:gd name="connsiteX4" fmla="*/ 5252981 w 5252981"/>
              <a:gd name="connsiteY4" fmla="*/ 6861310 h 6861310"/>
              <a:gd name="connsiteX5" fmla="*/ 967853 w 5252981"/>
              <a:gd name="connsiteY5" fmla="*/ 6861310 h 6861310"/>
              <a:gd name="connsiteX6" fmla="*/ 79 w 5252981"/>
              <a:gd name="connsiteY6" fmla="*/ 2406403 h 6861310"/>
              <a:gd name="connsiteX7" fmla="*/ 2083752 w 5252981"/>
              <a:gd name="connsiteY7" fmla="*/ 0 h 6861310"/>
              <a:gd name="connsiteX0" fmla="*/ 2083752 w 5252981"/>
              <a:gd name="connsiteY0" fmla="*/ 0 h 6861310"/>
              <a:gd name="connsiteX1" fmla="*/ 5252981 w 5252981"/>
              <a:gd name="connsiteY1" fmla="*/ 3310 h 6861310"/>
              <a:gd name="connsiteX2" fmla="*/ 5252981 w 5252981"/>
              <a:gd name="connsiteY2" fmla="*/ 3310 h 6861310"/>
              <a:gd name="connsiteX3" fmla="*/ 5252981 w 5252981"/>
              <a:gd name="connsiteY3" fmla="*/ 6861310 h 6861310"/>
              <a:gd name="connsiteX4" fmla="*/ 5252981 w 5252981"/>
              <a:gd name="connsiteY4" fmla="*/ 6861310 h 6861310"/>
              <a:gd name="connsiteX5" fmla="*/ 967853 w 5252981"/>
              <a:gd name="connsiteY5" fmla="*/ 6861310 h 6861310"/>
              <a:gd name="connsiteX6" fmla="*/ 79 w 5252981"/>
              <a:gd name="connsiteY6" fmla="*/ 2406403 h 6861310"/>
              <a:gd name="connsiteX7" fmla="*/ 2083752 w 5252981"/>
              <a:gd name="connsiteY7" fmla="*/ 0 h 6861310"/>
              <a:gd name="connsiteX0" fmla="*/ 2083881 w 5253110"/>
              <a:gd name="connsiteY0" fmla="*/ 0 h 6861310"/>
              <a:gd name="connsiteX1" fmla="*/ 5253110 w 5253110"/>
              <a:gd name="connsiteY1" fmla="*/ 3310 h 6861310"/>
              <a:gd name="connsiteX2" fmla="*/ 5253110 w 5253110"/>
              <a:gd name="connsiteY2" fmla="*/ 3310 h 6861310"/>
              <a:gd name="connsiteX3" fmla="*/ 5253110 w 5253110"/>
              <a:gd name="connsiteY3" fmla="*/ 6861310 h 6861310"/>
              <a:gd name="connsiteX4" fmla="*/ 5253110 w 5253110"/>
              <a:gd name="connsiteY4" fmla="*/ 6861310 h 6861310"/>
              <a:gd name="connsiteX5" fmla="*/ 967982 w 5253110"/>
              <a:gd name="connsiteY5" fmla="*/ 6861310 h 6861310"/>
              <a:gd name="connsiteX6" fmla="*/ 208 w 5253110"/>
              <a:gd name="connsiteY6" fmla="*/ 2406403 h 6861310"/>
              <a:gd name="connsiteX7" fmla="*/ 2083881 w 5253110"/>
              <a:gd name="connsiteY7" fmla="*/ 0 h 6861310"/>
              <a:gd name="connsiteX0" fmla="*/ 2083881 w 5253110"/>
              <a:gd name="connsiteY0" fmla="*/ 0 h 6861310"/>
              <a:gd name="connsiteX1" fmla="*/ 5253110 w 5253110"/>
              <a:gd name="connsiteY1" fmla="*/ 3310 h 6861310"/>
              <a:gd name="connsiteX2" fmla="*/ 5253110 w 5253110"/>
              <a:gd name="connsiteY2" fmla="*/ 3310 h 6861310"/>
              <a:gd name="connsiteX3" fmla="*/ 5253110 w 5253110"/>
              <a:gd name="connsiteY3" fmla="*/ 6861310 h 6861310"/>
              <a:gd name="connsiteX4" fmla="*/ 5253110 w 5253110"/>
              <a:gd name="connsiteY4" fmla="*/ 6861310 h 6861310"/>
              <a:gd name="connsiteX5" fmla="*/ 967982 w 5253110"/>
              <a:gd name="connsiteY5" fmla="*/ 6861310 h 6861310"/>
              <a:gd name="connsiteX6" fmla="*/ 208 w 5253110"/>
              <a:gd name="connsiteY6" fmla="*/ 2406403 h 6861310"/>
              <a:gd name="connsiteX7" fmla="*/ 2083881 w 5253110"/>
              <a:gd name="connsiteY7" fmla="*/ 0 h 686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110" h="6861310">
                <a:moveTo>
                  <a:pt x="2083881" y="0"/>
                </a:moveTo>
                <a:lnTo>
                  <a:pt x="5253110" y="3310"/>
                </a:lnTo>
                <a:lnTo>
                  <a:pt x="5253110" y="3310"/>
                </a:lnTo>
                <a:lnTo>
                  <a:pt x="5253110" y="6861310"/>
                </a:lnTo>
                <a:lnTo>
                  <a:pt x="5253110" y="6861310"/>
                </a:lnTo>
                <a:lnTo>
                  <a:pt x="967982" y="6861310"/>
                </a:lnTo>
                <a:cubicBezTo>
                  <a:pt x="1620888" y="5201735"/>
                  <a:pt x="18206" y="3768003"/>
                  <a:pt x="208" y="2406403"/>
                </a:cubicBezTo>
                <a:cubicBezTo>
                  <a:pt x="-17790" y="1044803"/>
                  <a:pt x="1131025" y="6620"/>
                  <a:pt x="2083881" y="0"/>
                </a:cubicBezTo>
                <a:close/>
              </a:path>
            </a:pathLst>
          </a:custGeom>
          <a:solidFill>
            <a:schemeClr val="bg2"/>
          </a:solidFill>
        </p:spPr>
        <p:txBody>
          <a:bodyPr tIns="2844000">
            <a:normAutofit/>
          </a:bodyPr>
          <a:lstStyle>
            <a:lvl1pPr marL="0" indent="0" algn="ctr">
              <a:buFont typeface="Arial" panose="020B0604020202020204" pitchFamily="34" charset="0"/>
              <a:buNone/>
              <a:defRPr sz="1100"/>
            </a:lvl1pPr>
          </a:lstStyle>
          <a:p>
            <a:r>
              <a:rPr lang="da-DK"/>
              <a:t>Indsæt billede</a:t>
            </a:r>
          </a:p>
        </p:txBody>
      </p:sp>
      <p:sp>
        <p:nvSpPr>
          <p:cNvPr id="4" name="Slide Number Placeholder 5">
            <a:extLst>
              <a:ext uri="{FF2B5EF4-FFF2-40B4-BE49-F238E27FC236}">
                <a16:creationId xmlns:a16="http://schemas.microsoft.com/office/drawing/2014/main" id="{84A468D6-7ED5-4779-41A5-E33D23BCBC6F}"/>
              </a:ext>
            </a:extLst>
          </p:cNvPr>
          <p:cNvSpPr txBox="1">
            <a:spLocks/>
          </p:cNvSpPr>
          <p:nvPr/>
        </p:nvSpPr>
        <p:spPr>
          <a:xfrm>
            <a:off x="10815638" y="6064612"/>
            <a:ext cx="942976" cy="360000"/>
          </a:xfrm>
          <a:prstGeom prst="rect">
            <a:avLst/>
          </a:prstGeom>
        </p:spPr>
        <p:txBody>
          <a:bodyPr vert="horz" lIns="0" tIns="0" rIns="0" bIns="0" rtlCol="0" anchor="b" anchorCtr="0"/>
          <a:lstStyle>
            <a:defPPr>
              <a:defRPr lang="en-US"/>
            </a:defPPr>
            <a:lvl1pPr marL="0" algn="r" defTabSz="914400" rtl="0" eaLnBrk="1" latinLnBrk="0" hangingPunct="1">
              <a:defRPr sz="800" b="0" i="0" kern="1200">
                <a:solidFill>
                  <a:schemeClr val="tx1"/>
                </a:solidFill>
                <a:latin typeface="Eifon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a:t>S. </a:t>
            </a:r>
            <a:fld id="{E68BB47B-6AA6-7343-BE79-ECEFD83B2C88}" type="slidenum">
              <a:rPr lang="da-DK" smtClean="0"/>
              <a:pPr/>
              <a:t>‹#›</a:t>
            </a:fld>
            <a:endParaRPr lang="da-DK"/>
          </a:p>
        </p:txBody>
      </p:sp>
      <p:pic>
        <p:nvPicPr>
          <p:cNvPr id="5" name="Graphic 5">
            <a:extLst>
              <a:ext uri="{FF2B5EF4-FFF2-40B4-BE49-F238E27FC236}">
                <a16:creationId xmlns:a16="http://schemas.microsoft.com/office/drawing/2014/main" id="{1D6CC453-A4C8-72C5-FC42-DCDF411624F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3" name="Pladsholder til tekst 5">
            <a:extLst>
              <a:ext uri="{FF2B5EF4-FFF2-40B4-BE49-F238E27FC236}">
                <a16:creationId xmlns:a16="http://schemas.microsoft.com/office/drawing/2014/main" id="{66E6F8D4-A5F0-AC87-26EF-4C7BE2B59F1E}"/>
              </a:ext>
            </a:extLst>
          </p:cNvPr>
          <p:cNvSpPr>
            <a:spLocks noGrp="1"/>
          </p:cNvSpPr>
          <p:nvPr>
            <p:ph type="body" sz="quarter" idx="10" hasCustomPrompt="1"/>
          </p:nvPr>
        </p:nvSpPr>
        <p:spPr>
          <a:xfrm>
            <a:off x="431800" y="2162175"/>
            <a:ext cx="6607175" cy="3614738"/>
          </a:xfrm>
        </p:spPr>
        <p:txBody>
          <a:bodyPr/>
          <a:lstStyle>
            <a:lvl1pPr>
              <a:lnSpc>
                <a:spcPct val="120000"/>
              </a:lnSpc>
              <a:buClr>
                <a:schemeClr val="tx1"/>
              </a:buClr>
              <a:defRPr sz="2400"/>
            </a:lvl1pPr>
            <a:lvl2pPr>
              <a:lnSpc>
                <a:spcPct val="120000"/>
              </a:lnSpc>
              <a:buClr>
                <a:schemeClr val="tx1"/>
              </a:buClr>
              <a:defRPr sz="2400"/>
            </a:lvl2pPr>
            <a:lvl3pPr>
              <a:lnSpc>
                <a:spcPct val="120000"/>
              </a:lnSpc>
              <a:buClr>
                <a:schemeClr val="tx1"/>
              </a:buClr>
              <a:defRPr sz="2400"/>
            </a:lvl3pPr>
            <a:lvl4pPr>
              <a:lnSpc>
                <a:spcPct val="120000"/>
              </a:lnSpc>
              <a:buClr>
                <a:schemeClr val="tx1"/>
              </a:buClr>
              <a:defRPr sz="2400"/>
            </a:lvl4pPr>
            <a:lvl5pPr>
              <a:lnSpc>
                <a:spcPct val="120000"/>
              </a:lnSpc>
              <a:buClr>
                <a:schemeClr val="tx1"/>
              </a:buClr>
              <a:defRPr sz="2400"/>
            </a:lvl5pPr>
          </a:lstStyle>
          <a:p>
            <a:pPr lvl="0"/>
            <a:r>
              <a:rPr lang="da-DK"/>
              <a:t>Første niveau</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810498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reaker 1">
    <p:bg>
      <p:bgPr>
        <a:solidFill>
          <a:schemeClr val="accent1"/>
        </a:solidFill>
        <a:effectLst/>
      </p:bgPr>
    </p:bg>
    <p:spTree>
      <p:nvGrpSpPr>
        <p:cNvPr id="1" name=""/>
        <p:cNvGrpSpPr/>
        <p:nvPr/>
      </p:nvGrpSpPr>
      <p:grpSpPr>
        <a:xfrm>
          <a:off x="0" y="0"/>
          <a:ext cx="0" cy="0"/>
          <a:chOff x="0" y="0"/>
          <a:chExt cx="0" cy="0"/>
        </a:xfrm>
      </p:grpSpPr>
      <p:pic>
        <p:nvPicPr>
          <p:cNvPr id="3" name="Graphic 5">
            <a:extLst>
              <a:ext uri="{FF2B5EF4-FFF2-40B4-BE49-F238E27FC236}">
                <a16:creationId xmlns:a16="http://schemas.microsoft.com/office/drawing/2014/main" id="{3C180AED-923D-4A4A-ECD0-8A858BC6B6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24213" y="432000"/>
            <a:ext cx="734400" cy="378216"/>
          </a:xfrm>
          <a:prstGeom prst="rect">
            <a:avLst/>
          </a:prstGeom>
        </p:spPr>
      </p:pic>
      <p:sp>
        <p:nvSpPr>
          <p:cNvPr id="62" name="Title 1">
            <a:extLst>
              <a:ext uri="{FF2B5EF4-FFF2-40B4-BE49-F238E27FC236}">
                <a16:creationId xmlns:a16="http://schemas.microsoft.com/office/drawing/2014/main" id="{F6D8ADD0-4078-8E0F-B78D-0D74EC60B470}"/>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tx1"/>
                </a:solidFill>
              </a:defRPr>
            </a:lvl1pPr>
          </a:lstStyle>
          <a:p>
            <a:r>
              <a:rPr lang="da-DK"/>
              <a:t>Overskrift</a:t>
            </a:r>
            <a:br>
              <a:rPr lang="da-DK"/>
            </a:br>
            <a:r>
              <a:rPr lang="da-DK"/>
              <a:t>max 2 linjer</a:t>
            </a:r>
          </a:p>
        </p:txBody>
      </p:sp>
      <p:sp>
        <p:nvSpPr>
          <p:cNvPr id="63" name="Subtitle 2">
            <a:extLst>
              <a:ext uri="{FF2B5EF4-FFF2-40B4-BE49-F238E27FC236}">
                <a16:creationId xmlns:a16="http://schemas.microsoft.com/office/drawing/2014/main" id="{0B2CBE13-B52B-89FB-2119-5CBA73A400CE}"/>
              </a:ext>
            </a:extLst>
          </p:cNvPr>
          <p:cNvSpPr>
            <a:spLocks noGrp="1"/>
          </p:cNvSpPr>
          <p:nvPr>
            <p:ph type="subTitle" idx="1" hasCustomPrompt="1"/>
          </p:nvPr>
        </p:nvSpPr>
        <p:spPr>
          <a:xfrm>
            <a:off x="431800" y="5468295"/>
            <a:ext cx="6607175" cy="394494"/>
          </a:xfrm>
        </p:spPr>
        <p:txBody>
          <a:bodyPr anchor="t" anchorCtr="0">
            <a:noAutofit/>
          </a:bodyPr>
          <a:lstStyle>
            <a:lvl1pPr marL="0" indent="0" algn="l">
              <a:lnSpc>
                <a:spcPts val="2200"/>
              </a:lnSpc>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Tekst/dato</a:t>
            </a:r>
          </a:p>
        </p:txBody>
      </p:sp>
      <p:sp>
        <p:nvSpPr>
          <p:cNvPr id="2" name="Slide Number Placeholder 5">
            <a:extLst>
              <a:ext uri="{FF2B5EF4-FFF2-40B4-BE49-F238E27FC236}">
                <a16:creationId xmlns:a16="http://schemas.microsoft.com/office/drawing/2014/main" id="{8DD50126-6C91-ECB7-2BA9-AAAF2578BFF4}"/>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489864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reaker 2 m. 5. element">
    <p:bg>
      <p:bgPr>
        <a:solidFill>
          <a:schemeClr val="accent2"/>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9A9C12D-08E5-B698-93A7-F9CDFB8F59FE}"/>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5797" b="28108"/>
          <a:stretch/>
        </p:blipFill>
        <p:spPr>
          <a:xfrm>
            <a:off x="0" y="65315"/>
            <a:ext cx="12192000" cy="6858000"/>
          </a:xfrm>
          <a:prstGeom prst="rect">
            <a:avLst/>
          </a:prstGeom>
        </p:spPr>
      </p:pic>
      <p:pic>
        <p:nvPicPr>
          <p:cNvPr id="3" name="Graphic 5">
            <a:extLst>
              <a:ext uri="{FF2B5EF4-FFF2-40B4-BE49-F238E27FC236}">
                <a16:creationId xmlns:a16="http://schemas.microsoft.com/office/drawing/2014/main" id="{E972505D-4B2A-D803-3DE7-70964FFCFA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24213" y="432000"/>
            <a:ext cx="734400" cy="378216"/>
          </a:xfrm>
          <a:prstGeom prst="rect">
            <a:avLst/>
          </a:prstGeom>
        </p:spPr>
      </p:pic>
      <p:sp>
        <p:nvSpPr>
          <p:cNvPr id="4" name="Title 1">
            <a:extLst>
              <a:ext uri="{FF2B5EF4-FFF2-40B4-BE49-F238E27FC236}">
                <a16:creationId xmlns:a16="http://schemas.microsoft.com/office/drawing/2014/main" id="{BD1F172A-A302-629C-BF04-8FCDFECA9734}"/>
              </a:ext>
            </a:extLst>
          </p:cNvPr>
          <p:cNvSpPr>
            <a:spLocks noGrp="1"/>
          </p:cNvSpPr>
          <p:nvPr>
            <p:ph type="ctrTitle" hasCustomPrompt="1"/>
          </p:nvPr>
        </p:nvSpPr>
        <p:spPr>
          <a:xfrm>
            <a:off x="431800" y="3429000"/>
            <a:ext cx="6607175" cy="2039295"/>
          </a:xfrm>
        </p:spPr>
        <p:txBody>
          <a:bodyPr anchor="b" anchorCtr="0">
            <a:noAutofit/>
          </a:bodyPr>
          <a:lstStyle>
            <a:lvl1pPr algn="l">
              <a:lnSpc>
                <a:spcPct val="100000"/>
              </a:lnSpc>
              <a:defRPr sz="4800">
                <a:solidFill>
                  <a:schemeClr val="tx1"/>
                </a:solidFill>
              </a:defRPr>
            </a:lvl1pPr>
          </a:lstStyle>
          <a:p>
            <a:r>
              <a:rPr lang="da-DK" err="1"/>
              <a:t>Breaker</a:t>
            </a:r>
            <a:endParaRPr lang="da-DK"/>
          </a:p>
        </p:txBody>
      </p:sp>
      <p:sp>
        <p:nvSpPr>
          <p:cNvPr id="2" name="Slide Number Placeholder 5">
            <a:extLst>
              <a:ext uri="{FF2B5EF4-FFF2-40B4-BE49-F238E27FC236}">
                <a16:creationId xmlns:a16="http://schemas.microsoft.com/office/drawing/2014/main" id="{8D467CEA-90F9-F93B-435F-26851C75222E}"/>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3147394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oleObject" Target="../embeddings/oleObject4.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ags" Target="../tags/tag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image" Target="../media/image18.emf"/><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453898-BF1F-CDAE-C819-61399BA8CD5A}"/>
              </a:ext>
            </a:extLst>
          </p:cNvPr>
          <p:cNvGraphicFramePr>
            <a:graphicFrameLocks noChangeAspect="1"/>
          </p:cNvGraphicFramePr>
          <p:nvPr userDrawn="1">
            <p:custDataLst>
              <p:tags r:id="rId34"/>
            </p:custDataLst>
            <p:extLst>
              <p:ext uri="{D42A27DB-BD31-4B8C-83A1-F6EECF244321}">
                <p14:modId xmlns:p14="http://schemas.microsoft.com/office/powerpoint/2010/main" val="3540672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60" progId="TCLayout.ActiveDocument.1">
                  <p:embed/>
                </p:oleObj>
              </mc:Choice>
              <mc:Fallback>
                <p:oleObj name="think-cell Slide" r:id="rId35" imgW="359" imgH="360" progId="TCLayout.ActiveDocument.1">
                  <p:embed/>
                  <p:pic>
                    <p:nvPicPr>
                      <p:cNvPr id="7" name="think-cell data - do not delete" hidden="1">
                        <a:extLst>
                          <a:ext uri="{FF2B5EF4-FFF2-40B4-BE49-F238E27FC236}">
                            <a16:creationId xmlns:a16="http://schemas.microsoft.com/office/drawing/2014/main" id="{FF453898-BF1F-CDAE-C819-61399BA8CD5A}"/>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1081617"/>
            <a:ext cx="9439275" cy="1080000"/>
          </a:xfrm>
          <a:prstGeom prst="rect">
            <a:avLst/>
          </a:prstGeom>
        </p:spPr>
        <p:txBody>
          <a:bodyPr vert="horz" lIns="0" tIns="0" rIns="0" bIns="0" rtlCol="0" anchor="t" anchorCtr="0">
            <a:noAutofit/>
          </a:bodyPr>
          <a:lstStyle/>
          <a:p>
            <a:r>
              <a:rPr lang="da-DK"/>
              <a:t>Overskrift</a:t>
            </a:r>
            <a:br>
              <a:rPr lang="da-DK"/>
            </a:br>
            <a:r>
              <a:rPr lang="da-DK"/>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2671200"/>
            <a:ext cx="5112000" cy="3311999"/>
          </a:xfrm>
          <a:prstGeom prst="rect">
            <a:avLst/>
          </a:prstGeom>
        </p:spPr>
        <p:txBody>
          <a:bodyPr vert="horz" lIns="0" tIns="0" rIns="0" bIns="0" rtlCol="0">
            <a:noAutofit/>
          </a:bodyPr>
          <a:lstStyle/>
          <a:p>
            <a:pPr lvl="0"/>
            <a:r>
              <a:rPr lang="da-DK"/>
              <a:t>Niveau 1</a:t>
            </a:r>
          </a:p>
          <a:p>
            <a:pPr lvl="1"/>
            <a:r>
              <a:rPr lang="da-DK"/>
              <a:t>Niveau 2 </a:t>
            </a:r>
          </a:p>
          <a:p>
            <a:pPr lvl="2"/>
            <a:r>
              <a:rPr lang="da-DK"/>
              <a:t>Niveau 3</a:t>
            </a:r>
          </a:p>
          <a:p>
            <a:pPr lvl="3"/>
            <a:r>
              <a:rPr lang="da-DK"/>
              <a:t>Niveau 4</a:t>
            </a:r>
          </a:p>
          <a:p>
            <a:pPr lvl="4"/>
            <a:r>
              <a:rPr lang="da-DK"/>
              <a:t>Niveau 5</a:t>
            </a:r>
          </a:p>
          <a:p>
            <a:pPr lvl="1"/>
            <a:endParaRPr lang="da-DK"/>
          </a:p>
          <a:p>
            <a:pPr lvl="2"/>
            <a:endParaRPr lang="da-DK"/>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431800" y="6067215"/>
            <a:ext cx="944563" cy="360000"/>
          </a:xfrm>
          <a:prstGeom prst="rect">
            <a:avLst/>
          </a:prstGeom>
        </p:spPr>
        <p:txBody>
          <a:bodyPr vert="horz" lIns="0" tIns="0" rIns="0" bIns="0" rtlCol="0" anchor="b" anchorCtr="0"/>
          <a:lstStyle>
            <a:lvl1pPr algn="l">
              <a:defRPr sz="800" b="0" i="0">
                <a:solidFill>
                  <a:schemeClr val="tx1"/>
                </a:solidFill>
                <a:latin typeface="Eifont" pitchFamily="2" charset="77"/>
              </a:defRPr>
            </a:lvl1pPr>
          </a:lstStyle>
          <a:p>
            <a:fld id="{F7E64F19-F0F7-406F-AC0F-3ECFC744BBDA}" type="datetimeFigureOut">
              <a:rPr lang="da-DK" smtClean="0"/>
              <a:t>10-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10815637" y="6064613"/>
            <a:ext cx="942976" cy="360000"/>
          </a:xfrm>
          <a:prstGeom prst="rect">
            <a:avLst/>
          </a:prstGeom>
        </p:spPr>
        <p:txBody>
          <a:bodyPr vert="horz" lIns="0" tIns="0" rIns="0" bIns="0" rtlCol="0" anchor="b" anchorCtr="0"/>
          <a:lstStyle>
            <a:lvl1pPr algn="r">
              <a:defRPr sz="800" b="0" i="0">
                <a:solidFill>
                  <a:schemeClr val="tx1"/>
                </a:solidFill>
                <a:latin typeface="Eifont" pitchFamily="2" charset="77"/>
              </a:defRPr>
            </a:lvl1pPr>
          </a:lstStyle>
          <a:p>
            <a:fld id="{FA9C6259-F55B-47A6-AB0B-9E9F0835A2F0}" type="slidenum">
              <a:rPr lang="da-DK" smtClean="0"/>
              <a:t>‹#›</a:t>
            </a:fld>
            <a:endParaRPr lang="da-DK"/>
          </a:p>
        </p:txBody>
      </p:sp>
    </p:spTree>
    <p:extLst>
      <p:ext uri="{BB962C8B-B14F-4D97-AF65-F5344CB8AC3E}">
        <p14:creationId xmlns:p14="http://schemas.microsoft.com/office/powerpoint/2010/main" val="625674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1" r:id="rId30"/>
    <p:sldLayoutId id="2147483690" r:id="rId31"/>
    <p:sldLayoutId id="2147483694" r:id="rId32"/>
  </p:sldLayoutIdLst>
  <p:txStyles>
    <p:titleStyle>
      <a:lvl1pPr algn="l" defTabSz="914400" rtl="0" eaLnBrk="1" latinLnBrk="0" hangingPunct="1">
        <a:lnSpc>
          <a:spcPct val="90000"/>
        </a:lnSpc>
        <a:spcBef>
          <a:spcPct val="0"/>
        </a:spcBef>
        <a:buNone/>
        <a:defRPr sz="3600" b="0" i="0" kern="1200">
          <a:solidFill>
            <a:schemeClr val="tx1"/>
          </a:solidFill>
          <a:latin typeface="Eifont Display" pitchFamily="2" charset="77"/>
          <a:ea typeface="+mj-ea"/>
          <a:cs typeface="+mj-cs"/>
        </a:defRPr>
      </a:lvl1pPr>
    </p:titleStyle>
    <p:body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72">
          <p15:clr>
            <a:srgbClr val="F26B43"/>
          </p15:clr>
        </p15:guide>
        <p15:guide id="4" pos="846">
          <p15:clr>
            <a:srgbClr val="F26B43"/>
          </p15:clr>
        </p15:guide>
        <p15:guide id="5" pos="146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29">
          <p15:clr>
            <a:srgbClr val="F26B43"/>
          </p15:clr>
        </p15:guide>
        <p15:guide id="12" pos="5623">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5E1090-D35F-F3BE-EC45-ECB520C13E50}"/>
              </a:ext>
            </a:extLst>
          </p:cNvPr>
          <p:cNvGraphicFramePr>
            <a:graphicFrameLocks noChangeAspect="1"/>
          </p:cNvGraphicFramePr>
          <p:nvPr userDrawn="1">
            <p:custDataLst>
              <p:tags r:id="rId33"/>
            </p:custDataLst>
            <p:extLst>
              <p:ext uri="{D42A27DB-BD31-4B8C-83A1-F6EECF244321}">
                <p14:modId xmlns:p14="http://schemas.microsoft.com/office/powerpoint/2010/main" val="860592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4" imgH="405" progId="TCLayout.ActiveDocument.1">
                  <p:embed/>
                </p:oleObj>
              </mc:Choice>
              <mc:Fallback>
                <p:oleObj name="think-cell Slide" r:id="rId34" imgW="404" imgH="405" progId="TCLayout.ActiveDocument.1">
                  <p:embed/>
                  <p:pic>
                    <p:nvPicPr>
                      <p:cNvPr id="7" name="think-cell data - do not delete" hidden="1">
                        <a:extLst>
                          <a:ext uri="{FF2B5EF4-FFF2-40B4-BE49-F238E27FC236}">
                            <a16:creationId xmlns:a16="http://schemas.microsoft.com/office/drawing/2014/main" id="{D25E1090-D35F-F3BE-EC45-ECB520C13E5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1081617"/>
            <a:ext cx="11326814" cy="1080000"/>
          </a:xfrm>
          <a:prstGeom prst="rect">
            <a:avLst/>
          </a:prstGeom>
        </p:spPr>
        <p:txBody>
          <a:bodyPr vert="horz" lIns="36000" tIns="36000" rIns="36000" bIns="36000" rtlCol="0" anchor="t" anchorCtr="0">
            <a:noAutofit/>
          </a:bodyPr>
          <a:lstStyle/>
          <a:p>
            <a:r>
              <a:rPr lang="en-GB" err="1"/>
              <a:t>Overskrift</a:t>
            </a:r>
            <a:br>
              <a:rPr lang="en-GB"/>
            </a:br>
            <a:r>
              <a:rPr lang="en-GB"/>
              <a:t>max 2 </a:t>
            </a:r>
            <a:r>
              <a:rPr lang="en-GB" err="1"/>
              <a:t>linjer</a:t>
            </a:r>
            <a:endParaRPr lang="en-GB"/>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2671200"/>
            <a:ext cx="5112000" cy="3311999"/>
          </a:xfrm>
          <a:prstGeom prst="rect">
            <a:avLst/>
          </a:prstGeom>
        </p:spPr>
        <p:txBody>
          <a:bodyPr vert="horz" lIns="36000" tIns="36000" rIns="36000" bIns="36000" rtlCol="0">
            <a:noAutofit/>
          </a:bodyPr>
          <a:lstStyle/>
          <a:p>
            <a:pPr lvl="0"/>
            <a:r>
              <a:rPr lang="en-GB" err="1"/>
              <a:t>Niveau</a:t>
            </a:r>
            <a:r>
              <a:rPr lang="en-GB"/>
              <a:t> 1</a:t>
            </a:r>
          </a:p>
          <a:p>
            <a:pPr lvl="1"/>
            <a:r>
              <a:rPr lang="en-GB" err="1"/>
              <a:t>Niveau</a:t>
            </a:r>
            <a:r>
              <a:rPr lang="en-GB"/>
              <a:t> 2 </a:t>
            </a:r>
          </a:p>
          <a:p>
            <a:pPr lvl="2"/>
            <a:r>
              <a:rPr lang="en-GB" err="1"/>
              <a:t>Niveau</a:t>
            </a:r>
            <a:r>
              <a:rPr lang="en-GB"/>
              <a:t> 3</a:t>
            </a:r>
          </a:p>
          <a:p>
            <a:pPr lvl="3"/>
            <a:r>
              <a:rPr lang="en-GB" err="1"/>
              <a:t>Niveau</a:t>
            </a:r>
            <a:r>
              <a:rPr lang="en-GB"/>
              <a:t> 4</a:t>
            </a:r>
          </a:p>
          <a:p>
            <a:pPr lvl="4"/>
            <a:r>
              <a:rPr lang="en-GB" err="1"/>
              <a:t>Niveau</a:t>
            </a:r>
            <a:r>
              <a:rPr lang="en-GB"/>
              <a:t> 5</a:t>
            </a:r>
          </a:p>
          <a:p>
            <a:pPr lvl="1"/>
            <a:endParaRPr lang="en-GB"/>
          </a:p>
          <a:p>
            <a:pPr lvl="2"/>
            <a:endParaRPr lang="en-GB"/>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431800" y="6067215"/>
            <a:ext cx="944563" cy="360000"/>
          </a:xfrm>
          <a:prstGeom prst="rect">
            <a:avLst/>
          </a:prstGeom>
        </p:spPr>
        <p:txBody>
          <a:bodyPr vert="horz" lIns="36000" tIns="36000" rIns="36000" bIns="36000" rtlCol="0" anchor="b" anchorCtr="0"/>
          <a:lstStyle>
            <a:lvl1pPr algn="l">
              <a:defRPr sz="800" b="0" i="0">
                <a:solidFill>
                  <a:schemeClr val="tx1"/>
                </a:solidFill>
                <a:latin typeface="Eifont" pitchFamily="2" charset="77"/>
              </a:defRPr>
            </a:lvl1pPr>
          </a:lstStyle>
          <a:p>
            <a:endParaRPr lang="en-GB"/>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11247437" y="6427214"/>
            <a:ext cx="944563" cy="430785"/>
          </a:xfrm>
          <a:prstGeom prst="rect">
            <a:avLst/>
          </a:prstGeom>
        </p:spPr>
        <p:txBody>
          <a:bodyPr vert="horz" lIns="72000" tIns="72000" rIns="648000" bIns="180000" rtlCol="0" anchor="b" anchorCtr="0"/>
          <a:lstStyle>
            <a:lvl1pPr algn="r">
              <a:defRPr sz="800" b="0" i="0">
                <a:solidFill>
                  <a:schemeClr val="tx1"/>
                </a:solidFill>
                <a:latin typeface="Eifont" pitchFamily="2" charset="77"/>
              </a:defRPr>
            </a:lvl1pPr>
          </a:lstStyle>
          <a:p>
            <a:fld id="{FA9C6259-F55B-47A6-AB0B-9E9F0835A2F0}" type="slidenum">
              <a:rPr lang="en-GB" smtClean="0"/>
              <a:t>‹#›</a:t>
            </a:fld>
            <a:endParaRPr lang="en-GB"/>
          </a:p>
        </p:txBody>
      </p:sp>
    </p:spTree>
    <p:extLst>
      <p:ext uri="{BB962C8B-B14F-4D97-AF65-F5344CB8AC3E}">
        <p14:creationId xmlns:p14="http://schemas.microsoft.com/office/powerpoint/2010/main" val="429324001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Lst>
  <p:hf hdr="0" ftr="0" dt="0"/>
  <p:txStyles>
    <p:titleStyle>
      <a:lvl1pPr algn="l" defTabSz="914400" rtl="0" eaLnBrk="1" latinLnBrk="0" hangingPunct="1">
        <a:lnSpc>
          <a:spcPct val="90000"/>
        </a:lnSpc>
        <a:spcBef>
          <a:spcPct val="0"/>
        </a:spcBef>
        <a:buNone/>
        <a:defRPr sz="3600" b="0" i="0" kern="1200">
          <a:solidFill>
            <a:schemeClr val="tx1"/>
          </a:solidFill>
          <a:latin typeface="Eifont Display" pitchFamily="2" charset="77"/>
          <a:ea typeface="+mj-ea"/>
          <a:cs typeface="+mj-cs"/>
        </a:defRPr>
      </a:lvl1pPr>
    </p:titleStyle>
    <p:body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72">
          <p15:clr>
            <a:srgbClr val="F26B43"/>
          </p15:clr>
        </p15:guide>
        <p15:guide id="4" pos="846">
          <p15:clr>
            <a:srgbClr val="F26B43"/>
          </p15:clr>
        </p15:guide>
        <p15:guide id="5" pos="146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29">
          <p15:clr>
            <a:srgbClr val="F26B43"/>
          </p15:clr>
        </p15:guide>
        <p15:guide id="12" pos="5623">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136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Layout" Target="../slideLayouts/slideLayout53.xml"/><Relationship Id="rId7" Type="http://schemas.openxmlformats.org/officeDocument/2006/relationships/image" Target="../media/image2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0.jpeg"/><Relationship Id="rId5" Type="http://schemas.openxmlformats.org/officeDocument/2006/relationships/image" Target="../media/image18.emf"/><Relationship Id="rId4" Type="http://schemas.openxmlformats.org/officeDocument/2006/relationships/oleObject" Target="../embeddings/oleObject2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hyperlink" Target="https://www.dst.dk/Site/Dst/Udgivelser/GetPubFile.aspx?id=56681&amp;sid=02_forord" TargetMode="External"/><Relationship Id="rId2" Type="http://schemas.openxmlformats.org/officeDocument/2006/relationships/slideLayout" Target="../slideLayouts/slideLayout32.xml"/><Relationship Id="rId1" Type="http://schemas.openxmlformats.org/officeDocument/2006/relationships/tags" Target="../tags/tag216.xml"/><Relationship Id="rId6" Type="http://schemas.openxmlformats.org/officeDocument/2006/relationships/hyperlink" Target="https://www.dst.dk/da/Statistik/dokumentation/nomenklaturer/kommunegrupper"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5.png"/><Relationship Id="rId3" Type="http://schemas.openxmlformats.org/officeDocument/2006/relationships/tags" Target="../tags/tag219.xml"/><Relationship Id="rId7" Type="http://schemas.openxmlformats.org/officeDocument/2006/relationships/oleObject" Target="../embeddings/oleObject33.bin"/><Relationship Id="rId12" Type="http://schemas.openxmlformats.org/officeDocument/2006/relationships/image" Target="../media/image34.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notesSlide" Target="../notesSlides/notesSlide9.xml"/><Relationship Id="rId11" Type="http://schemas.openxmlformats.org/officeDocument/2006/relationships/image" Target="../media/image25.svg"/><Relationship Id="rId5" Type="http://schemas.openxmlformats.org/officeDocument/2006/relationships/slideLayout" Target="../slideLayouts/slideLayout28.xml"/><Relationship Id="rId15" Type="http://schemas.openxmlformats.org/officeDocument/2006/relationships/image" Target="../media/image37.png"/><Relationship Id="rId10" Type="http://schemas.openxmlformats.org/officeDocument/2006/relationships/image" Target="../media/image24.png"/><Relationship Id="rId4" Type="http://schemas.openxmlformats.org/officeDocument/2006/relationships/tags" Target="../tags/tag220.xml"/><Relationship Id="rId9" Type="http://schemas.openxmlformats.org/officeDocument/2006/relationships/hyperlink" Target="https://www.dst.dk/Site/Dst/SingleFiles/GetArchiveFile.aspx?fi=2014413438368&amp;fo=0&amp;ext=kvaldel" TargetMode="External"/><Relationship Id="rId14" Type="http://schemas.openxmlformats.org/officeDocument/2006/relationships/image" Target="../media/image36.svg"/></Relationships>
</file>

<file path=ppt/slides/_rels/slide12.xml.rels><?xml version="1.0" encoding="UTF-8" standalone="yes"?>
<Relationships xmlns="http://schemas.openxmlformats.org/package/2006/relationships"><Relationship Id="rId8" Type="http://schemas.openxmlformats.org/officeDocument/2006/relationships/hyperlink" Target="https://www.eifo.dk/media/zdzfqb45/danish-life-science-venture-capital-market-analysis-2024.pdf" TargetMode="External"/><Relationship Id="rId3" Type="http://schemas.openxmlformats.org/officeDocument/2006/relationships/oleObject" Target="../embeddings/oleObject34.bin"/><Relationship Id="rId7" Type="http://schemas.openxmlformats.org/officeDocument/2006/relationships/image" Target="../media/image39.png"/><Relationship Id="rId2" Type="http://schemas.openxmlformats.org/officeDocument/2006/relationships/slideLayout" Target="../slideLayouts/slideLayout31.xml"/><Relationship Id="rId1" Type="http://schemas.openxmlformats.org/officeDocument/2006/relationships/tags" Target="../tags/tag221.xml"/><Relationship Id="rId6" Type="http://schemas.openxmlformats.org/officeDocument/2006/relationships/hyperlink" Target="file:///C:\Users\mave\Danmarks%20Eksport-%20og%20Investeringsfond\Analysis%20&amp;%20Strategy%20-%201.%20Analyse%20(egne)\0_Fra%20startup%20til%20scaleup\2025%20Fra%20startup%20til%20scaleup\From%20Startup%20to%20Scaleup,%20Aug%202025.pdf" TargetMode="External"/><Relationship Id="rId5" Type="http://schemas.openxmlformats.org/officeDocument/2006/relationships/image" Target="../media/image38.png"/><Relationship Id="rId10" Type="http://schemas.openxmlformats.org/officeDocument/2006/relationships/hyperlink" Target="https://eifo.dk/media/wakptn33/20251211_kvartalsanalyse-q3-2025-1.pdf" TargetMode="External"/><Relationship Id="rId4" Type="http://schemas.openxmlformats.org/officeDocument/2006/relationships/image" Target="../media/image18.emf"/><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6.xml"/><Relationship Id="rId7" Type="http://schemas.openxmlformats.org/officeDocument/2006/relationships/image" Target="../media/image23.jpeg"/><Relationship Id="rId12" Type="http://schemas.openxmlformats.org/officeDocument/2006/relationships/slide" Target="slide1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8.emf"/><Relationship Id="rId11" Type="http://schemas.openxmlformats.org/officeDocument/2006/relationships/slide" Target="slide4.xml"/><Relationship Id="rId5" Type="http://schemas.openxmlformats.org/officeDocument/2006/relationships/oleObject" Target="../embeddings/oleObject24.bin"/><Relationship Id="rId10" Type="http://schemas.openxmlformats.org/officeDocument/2006/relationships/slide" Target="slide3.xml"/><Relationship Id="rId4" Type="http://schemas.openxmlformats.org/officeDocument/2006/relationships/notesSlide" Target="../notesSlides/notesSlide1.xml"/><Relationship Id="rId9" Type="http://schemas.openxmlformats.org/officeDocument/2006/relationships/image" Target="../media/image25.svg"/></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0.svg"/><Relationship Id="rId3" Type="http://schemas.openxmlformats.org/officeDocument/2006/relationships/slideLayout" Target="../slideLayouts/slideLayout30.xml"/><Relationship Id="rId7" Type="http://schemas.openxmlformats.org/officeDocument/2006/relationships/image" Target="../media/image26.png"/><Relationship Id="rId12" Type="http://schemas.openxmlformats.org/officeDocument/2006/relationships/image" Target="../media/image29.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6.emf"/><Relationship Id="rId11" Type="http://schemas.openxmlformats.org/officeDocument/2006/relationships/image" Target="../media/image28.svg"/><Relationship Id="rId5" Type="http://schemas.openxmlformats.org/officeDocument/2006/relationships/oleObject" Target="../embeddings/oleObject25.bin"/><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notesSlide" Target="../notesSlides/notesSlide2.xml"/><Relationship Id="rId9" Type="http://schemas.openxmlformats.org/officeDocument/2006/relationships/image" Target="../media/image25.sv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tags" Target="../tags/tag72.xml"/><Relationship Id="rId47" Type="http://schemas.openxmlformats.org/officeDocument/2006/relationships/notesSlide" Target="../notesSlides/notesSlide3.xml"/><Relationship Id="rId50" Type="http://schemas.openxmlformats.org/officeDocument/2006/relationships/chart" Target="../charts/chart1.xml"/><Relationship Id="rId7" Type="http://schemas.openxmlformats.org/officeDocument/2006/relationships/tags" Target="../tags/tag37.xml"/><Relationship Id="rId2" Type="http://schemas.openxmlformats.org/officeDocument/2006/relationships/tags" Target="../tags/tag32.xml"/><Relationship Id="rId16" Type="http://schemas.openxmlformats.org/officeDocument/2006/relationships/tags" Target="../tags/tag46.xml"/><Relationship Id="rId29" Type="http://schemas.openxmlformats.org/officeDocument/2006/relationships/tags" Target="../tags/tag59.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image" Target="../media/image18.emf"/><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hyperlink" Target="https://www.em.dk/Media/638545672959367585/Iv%C3%A6rks%C3%A6tterpakken-210624.pdf" TargetMode="Externa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oleObject" Target="../embeddings/oleObject26.bin"/><Relationship Id="rId8" Type="http://schemas.openxmlformats.org/officeDocument/2006/relationships/tags" Target="../tags/tag38.xml"/><Relationship Id="rId51" Type="http://schemas.openxmlformats.org/officeDocument/2006/relationships/chart" Target="../charts/chart2.xml"/><Relationship Id="rId3" Type="http://schemas.openxmlformats.org/officeDocument/2006/relationships/tags" Target="../tags/tag33.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slideLayout" Target="../slideLayouts/slideLayout35.xml"/><Relationship Id="rId20" Type="http://schemas.openxmlformats.org/officeDocument/2006/relationships/tags" Target="../tags/tag50.xml"/><Relationship Id="rId41" Type="http://schemas.openxmlformats.org/officeDocument/2006/relationships/tags" Target="../tags/tag71.xml"/><Relationship Id="rId1" Type="http://schemas.openxmlformats.org/officeDocument/2006/relationships/tags" Target="../tags/tag31.xml"/><Relationship Id="rId6" Type="http://schemas.openxmlformats.org/officeDocument/2006/relationships/tags" Target="../tags/tag36.xml"/></Relationships>
</file>

<file path=ppt/slides/_rels/slide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slideLayout" Target="../slideLayouts/slideLayout32.xml"/><Relationship Id="rId18" Type="http://schemas.openxmlformats.org/officeDocument/2006/relationships/chart" Target="../charts/chart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hyperlink" Target="https://www.dst.dk/da/Statistik/dokumentation/dansk-branchekode-er-gaeldende#:~:text=Dansk%20Branchekode%202025%20er%20g%C3%A6ldende%20%2D%20Danmarks%20Statistik" TargetMode="External"/><Relationship Id="rId2" Type="http://schemas.openxmlformats.org/officeDocument/2006/relationships/tags" Target="../tags/tag77.xml"/><Relationship Id="rId16" Type="http://schemas.openxmlformats.org/officeDocument/2006/relationships/image" Target="../media/image18.emf"/><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oleObject" Target="../embeddings/oleObject27.bin"/><Relationship Id="rId10" Type="http://schemas.openxmlformats.org/officeDocument/2006/relationships/tags" Target="../tags/tag85.xml"/><Relationship Id="rId19" Type="http://schemas.openxmlformats.org/officeDocument/2006/relationships/chart" Target="../charts/chart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chart" Target="../charts/chart6.xml"/><Relationship Id="rId3" Type="http://schemas.openxmlformats.org/officeDocument/2006/relationships/tags" Target="../tags/tag90.xml"/><Relationship Id="rId21" Type="http://schemas.openxmlformats.org/officeDocument/2006/relationships/notesSlide" Target="../notesSlides/notesSlide5.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hyperlink" Target="https://www.dst.dk/Site/Dst/Udgivelser/GetPubFile.aspx?id=56681&amp;sid=10_hele%20publikationen_12-12" TargetMode="Externa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slideLayout" Target="../slideLayouts/slideLayout32.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chart" Target="../charts/chart5.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image" Target="../media/image1.emf"/><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21" Type="http://schemas.openxmlformats.org/officeDocument/2006/relationships/tags" Target="../tags/tag127.xml"/><Relationship Id="rId34" Type="http://schemas.openxmlformats.org/officeDocument/2006/relationships/image" Target="../media/image18.emf"/><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oleObject" Target="../embeddings/oleObject29.bin"/><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slideLayout" Target="../slideLayouts/slideLayout32.xml"/><Relationship Id="rId37" Type="http://schemas.openxmlformats.org/officeDocument/2006/relationships/chart" Target="../charts/chart7.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36" Type="http://schemas.openxmlformats.org/officeDocument/2006/relationships/image" Target="../media/image33.png"/><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35" Type="http://schemas.microsoft.com/office/2014/relationships/chartEx" Target="../charts/chartEx1.xml"/><Relationship Id="rId8" Type="http://schemas.openxmlformats.org/officeDocument/2006/relationships/tags" Target="../tags/tag114.xml"/><Relationship Id="rId3" Type="http://schemas.openxmlformats.org/officeDocument/2006/relationships/tags" Target="../tags/tag109.xml"/></Relationships>
</file>

<file path=ppt/slides/_rels/slide8.xml.rels><?xml version="1.0" encoding="UTF-8" standalone="yes"?>
<Relationships xmlns="http://schemas.openxmlformats.org/package/2006/relationships"><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chart" Target="../charts/chart10.xml"/><Relationship Id="rId3" Type="http://schemas.openxmlformats.org/officeDocument/2006/relationships/tags" Target="../tags/tag140.xml"/><Relationship Id="rId21" Type="http://schemas.openxmlformats.org/officeDocument/2006/relationships/notesSlide" Target="../notesSlides/notesSlide6.xml"/><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chart" Target="../charts/chart9.xml"/><Relationship Id="rId33" Type="http://schemas.openxmlformats.org/officeDocument/2006/relationships/chart" Target="../charts/chart17.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slideLayout" Target="../slideLayouts/slideLayout32.xml"/><Relationship Id="rId29" Type="http://schemas.openxmlformats.org/officeDocument/2006/relationships/chart" Target="../charts/chart13.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chart" Target="../charts/chart8.xml"/><Relationship Id="rId32" Type="http://schemas.openxmlformats.org/officeDocument/2006/relationships/chart" Target="../charts/chart16.xml"/><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image" Target="../media/image18.emf"/><Relationship Id="rId28" Type="http://schemas.openxmlformats.org/officeDocument/2006/relationships/chart" Target="../charts/chart12.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chart" Target="../charts/chart15.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oleObject" Target="../embeddings/oleObject30.bin"/><Relationship Id="rId27" Type="http://schemas.openxmlformats.org/officeDocument/2006/relationships/chart" Target="../charts/chart11.xml"/><Relationship Id="rId30" Type="http://schemas.openxmlformats.org/officeDocument/2006/relationships/chart" Target="../charts/chart14.xml"/><Relationship Id="rId8" Type="http://schemas.openxmlformats.org/officeDocument/2006/relationships/tags" Target="../tags/tag145.xml"/></Relationships>
</file>

<file path=ppt/slides/_rels/slide9.xml.rels><?xml version="1.0" encoding="UTF-8" standalone="yes"?>
<Relationships xmlns="http://schemas.openxmlformats.org/package/2006/relationships"><Relationship Id="rId26" Type="http://schemas.openxmlformats.org/officeDocument/2006/relationships/tags" Target="../tags/tag182.xml"/><Relationship Id="rId21" Type="http://schemas.openxmlformats.org/officeDocument/2006/relationships/tags" Target="../tags/tag177.xml"/><Relationship Id="rId34" Type="http://schemas.openxmlformats.org/officeDocument/2006/relationships/tags" Target="../tags/tag190.xml"/><Relationship Id="rId42" Type="http://schemas.openxmlformats.org/officeDocument/2006/relationships/tags" Target="../tags/tag198.xml"/><Relationship Id="rId47" Type="http://schemas.openxmlformats.org/officeDocument/2006/relationships/tags" Target="../tags/tag203.xml"/><Relationship Id="rId50" Type="http://schemas.openxmlformats.org/officeDocument/2006/relationships/tags" Target="../tags/tag206.xml"/><Relationship Id="rId55" Type="http://schemas.openxmlformats.org/officeDocument/2006/relationships/tags" Target="../tags/tag211.xml"/><Relationship Id="rId63" Type="http://schemas.openxmlformats.org/officeDocument/2006/relationships/image" Target="../media/image18.emf"/><Relationship Id="rId7" Type="http://schemas.openxmlformats.org/officeDocument/2006/relationships/tags" Target="../tags/tag163.xml"/><Relationship Id="rId2" Type="http://schemas.openxmlformats.org/officeDocument/2006/relationships/tags" Target="../tags/tag158.xml"/><Relationship Id="rId16" Type="http://schemas.openxmlformats.org/officeDocument/2006/relationships/tags" Target="../tags/tag172.xml"/><Relationship Id="rId29" Type="http://schemas.openxmlformats.org/officeDocument/2006/relationships/tags" Target="../tags/tag185.xml"/><Relationship Id="rId11" Type="http://schemas.openxmlformats.org/officeDocument/2006/relationships/tags" Target="../tags/tag167.xml"/><Relationship Id="rId24" Type="http://schemas.openxmlformats.org/officeDocument/2006/relationships/tags" Target="../tags/tag180.xml"/><Relationship Id="rId32" Type="http://schemas.openxmlformats.org/officeDocument/2006/relationships/tags" Target="../tags/tag188.xml"/><Relationship Id="rId37" Type="http://schemas.openxmlformats.org/officeDocument/2006/relationships/tags" Target="../tags/tag193.xml"/><Relationship Id="rId40" Type="http://schemas.openxmlformats.org/officeDocument/2006/relationships/tags" Target="../tags/tag196.xml"/><Relationship Id="rId45" Type="http://schemas.openxmlformats.org/officeDocument/2006/relationships/tags" Target="../tags/tag201.xml"/><Relationship Id="rId53" Type="http://schemas.openxmlformats.org/officeDocument/2006/relationships/tags" Target="../tags/tag209.xml"/><Relationship Id="rId58" Type="http://schemas.openxmlformats.org/officeDocument/2006/relationships/tags" Target="../tags/tag214.xml"/><Relationship Id="rId5" Type="http://schemas.openxmlformats.org/officeDocument/2006/relationships/tags" Target="../tags/tag161.xml"/><Relationship Id="rId61" Type="http://schemas.openxmlformats.org/officeDocument/2006/relationships/notesSlide" Target="../notesSlides/notesSlide7.xml"/><Relationship Id="rId19" Type="http://schemas.openxmlformats.org/officeDocument/2006/relationships/tags" Target="../tags/tag175.xml"/><Relationship Id="rId14" Type="http://schemas.openxmlformats.org/officeDocument/2006/relationships/tags" Target="../tags/tag170.xml"/><Relationship Id="rId22" Type="http://schemas.openxmlformats.org/officeDocument/2006/relationships/tags" Target="../tags/tag178.xml"/><Relationship Id="rId27" Type="http://schemas.openxmlformats.org/officeDocument/2006/relationships/tags" Target="../tags/tag183.xml"/><Relationship Id="rId30" Type="http://schemas.openxmlformats.org/officeDocument/2006/relationships/tags" Target="../tags/tag186.xml"/><Relationship Id="rId35" Type="http://schemas.openxmlformats.org/officeDocument/2006/relationships/tags" Target="../tags/tag191.xml"/><Relationship Id="rId43" Type="http://schemas.openxmlformats.org/officeDocument/2006/relationships/tags" Target="../tags/tag199.xml"/><Relationship Id="rId48" Type="http://schemas.openxmlformats.org/officeDocument/2006/relationships/tags" Target="../tags/tag204.xml"/><Relationship Id="rId56" Type="http://schemas.openxmlformats.org/officeDocument/2006/relationships/tags" Target="../tags/tag212.xml"/><Relationship Id="rId64" Type="http://schemas.openxmlformats.org/officeDocument/2006/relationships/chart" Target="../charts/chart18.xml"/><Relationship Id="rId8" Type="http://schemas.openxmlformats.org/officeDocument/2006/relationships/tags" Target="../tags/tag164.xml"/><Relationship Id="rId51" Type="http://schemas.openxmlformats.org/officeDocument/2006/relationships/tags" Target="../tags/tag207.xml"/><Relationship Id="rId3" Type="http://schemas.openxmlformats.org/officeDocument/2006/relationships/tags" Target="../tags/tag159.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tags" Target="../tags/tag181.xml"/><Relationship Id="rId33" Type="http://schemas.openxmlformats.org/officeDocument/2006/relationships/tags" Target="../tags/tag189.xml"/><Relationship Id="rId38" Type="http://schemas.openxmlformats.org/officeDocument/2006/relationships/tags" Target="../tags/tag194.xml"/><Relationship Id="rId46" Type="http://schemas.openxmlformats.org/officeDocument/2006/relationships/tags" Target="../tags/tag202.xml"/><Relationship Id="rId59" Type="http://schemas.openxmlformats.org/officeDocument/2006/relationships/tags" Target="../tags/tag215.xml"/><Relationship Id="rId20" Type="http://schemas.openxmlformats.org/officeDocument/2006/relationships/tags" Target="../tags/tag176.xml"/><Relationship Id="rId41" Type="http://schemas.openxmlformats.org/officeDocument/2006/relationships/tags" Target="../tags/tag197.xml"/><Relationship Id="rId54" Type="http://schemas.openxmlformats.org/officeDocument/2006/relationships/tags" Target="../tags/tag210.xml"/><Relationship Id="rId62" Type="http://schemas.openxmlformats.org/officeDocument/2006/relationships/oleObject" Target="../embeddings/oleObject31.bin"/><Relationship Id="rId1" Type="http://schemas.openxmlformats.org/officeDocument/2006/relationships/tags" Target="../tags/tag157.xml"/><Relationship Id="rId6" Type="http://schemas.openxmlformats.org/officeDocument/2006/relationships/tags" Target="../tags/tag162.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tags" Target="../tags/tag192.xml"/><Relationship Id="rId49" Type="http://schemas.openxmlformats.org/officeDocument/2006/relationships/tags" Target="../tags/tag205.xml"/><Relationship Id="rId57" Type="http://schemas.openxmlformats.org/officeDocument/2006/relationships/tags" Target="../tags/tag213.xml"/><Relationship Id="rId10" Type="http://schemas.openxmlformats.org/officeDocument/2006/relationships/tags" Target="../tags/tag166.xml"/><Relationship Id="rId31" Type="http://schemas.openxmlformats.org/officeDocument/2006/relationships/tags" Target="../tags/tag187.xml"/><Relationship Id="rId44" Type="http://schemas.openxmlformats.org/officeDocument/2006/relationships/tags" Target="../tags/tag200.xml"/><Relationship Id="rId52" Type="http://schemas.openxmlformats.org/officeDocument/2006/relationships/tags" Target="../tags/tag208.xml"/><Relationship Id="rId60" Type="http://schemas.openxmlformats.org/officeDocument/2006/relationships/slideLayout" Target="../slideLayouts/slideLayout32.xml"/><Relationship Id="rId65" Type="http://schemas.openxmlformats.org/officeDocument/2006/relationships/chart" Target="../charts/chart19.xml"/><Relationship Id="rId4" Type="http://schemas.openxmlformats.org/officeDocument/2006/relationships/tags" Target="../tags/tag160.xml"/><Relationship Id="rId9" Type="http://schemas.openxmlformats.org/officeDocument/2006/relationships/tags" Target="../tags/tag165.xml"/><Relationship Id="rId13" Type="http://schemas.openxmlformats.org/officeDocument/2006/relationships/tags" Target="../tags/tag169.xml"/><Relationship Id="rId18" Type="http://schemas.openxmlformats.org/officeDocument/2006/relationships/tags" Target="../tags/tag174.xml"/><Relationship Id="rId39" Type="http://schemas.openxmlformats.org/officeDocument/2006/relationships/tags" Target="../tags/tag19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B46855B2-E9C4-5B27-501E-2256BD3AD2A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22CB78-A96B-AE75-2A1B-0C73BB6BFC19}"/>
              </a:ext>
            </a:extLst>
          </p:cNvPr>
          <p:cNvGraphicFramePr>
            <a:graphicFrameLocks noChangeAspect="1"/>
          </p:cNvGraphicFramePr>
          <p:nvPr>
            <p:custDataLst>
              <p:tags r:id="rId1"/>
            </p:custDataLst>
            <p:extLst>
              <p:ext uri="{D42A27DB-BD31-4B8C-83A1-F6EECF244321}">
                <p14:modId xmlns:p14="http://schemas.microsoft.com/office/powerpoint/2010/main" val="284683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622CB78-A96B-AE75-2A1B-0C73BB6BFC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6" descr="A person drawing on a paper &#10;&#10;Description automatically generated">
            <a:extLst>
              <a:ext uri="{FF2B5EF4-FFF2-40B4-BE49-F238E27FC236}">
                <a16:creationId xmlns:a16="http://schemas.microsoft.com/office/drawing/2014/main" id="{C65D1D56-82BC-99A2-997B-E752936E11D8}"/>
              </a:ext>
            </a:extLst>
          </p:cNvPr>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l="25000" r="25000"/>
          <a:stretch>
            <a:fillRect/>
          </a:stretch>
        </p:blipFill>
        <p:spPr>
          <a:xfrm>
            <a:off x="6096000" y="0"/>
            <a:ext cx="6096000" cy="6858000"/>
          </a:xfrm>
          <a:prstGeom prst="rect">
            <a:avLst/>
          </a:prstGeom>
          <a:solidFill>
            <a:schemeClr val="bg2"/>
          </a:solidFill>
        </p:spPr>
      </p:pic>
      <p:sp>
        <p:nvSpPr>
          <p:cNvPr id="4" name="Title 1">
            <a:extLst>
              <a:ext uri="{FF2B5EF4-FFF2-40B4-BE49-F238E27FC236}">
                <a16:creationId xmlns:a16="http://schemas.microsoft.com/office/drawing/2014/main" id="{C086F506-B0DE-87A8-F002-0D9D182E62D0}"/>
              </a:ext>
            </a:extLst>
          </p:cNvPr>
          <p:cNvSpPr>
            <a:spLocks noGrp="1"/>
          </p:cNvSpPr>
          <p:nvPr>
            <p:ph type="ctrTitle"/>
          </p:nvPr>
        </p:nvSpPr>
        <p:spPr>
          <a:xfrm>
            <a:off x="431801" y="3429000"/>
            <a:ext cx="5664200" cy="2039295"/>
          </a:xfrm>
        </p:spPr>
        <p:txBody>
          <a:bodyPr vert="horz"/>
          <a:lstStyle/>
          <a:p>
            <a:r>
              <a:rPr lang="da-DK" sz="3600" noProof="0">
                <a:solidFill>
                  <a:schemeClr val="accent5"/>
                </a:solidFill>
              </a:rPr>
              <a:t>Status på nystiftede virksomheder i 2025</a:t>
            </a:r>
          </a:p>
        </p:txBody>
      </p:sp>
      <p:sp>
        <p:nvSpPr>
          <p:cNvPr id="7" name="Subtitle 2">
            <a:extLst>
              <a:ext uri="{FF2B5EF4-FFF2-40B4-BE49-F238E27FC236}">
                <a16:creationId xmlns:a16="http://schemas.microsoft.com/office/drawing/2014/main" id="{5D4AA872-1DDD-F29D-33F1-FE8F5A49D88A}"/>
              </a:ext>
            </a:extLst>
          </p:cNvPr>
          <p:cNvSpPr txBox="1">
            <a:spLocks/>
          </p:cNvSpPr>
          <p:nvPr/>
        </p:nvSpPr>
        <p:spPr>
          <a:xfrm>
            <a:off x="431801" y="5620694"/>
            <a:ext cx="5664200" cy="663771"/>
          </a:xfrm>
          <a:prstGeom prst="rect">
            <a:avLst/>
          </a:prstGeom>
        </p:spPr>
        <p:txBody>
          <a:bodyPr>
            <a:sp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Eifont Display" pitchFamily="2" charset="0"/>
              <a:buNone/>
              <a:tabLst/>
              <a:defRPr/>
            </a:pPr>
            <a:r>
              <a:rPr kumimoji="0" lang="da-DK" sz="1600" b="0" i="0" u="none" strike="noStrike" kern="1200" cap="none" spc="0" normalizeH="0" baseline="0" noProof="0">
                <a:ln>
                  <a:noFill/>
                </a:ln>
                <a:solidFill>
                  <a:schemeClr val="accent5"/>
                </a:solidFill>
                <a:effectLst/>
                <a:uLnTx/>
                <a:uFillTx/>
                <a:latin typeface="Eifont" pitchFamily="2" charset="77"/>
                <a:ea typeface="+mn-ea"/>
                <a:cs typeface="+mn-cs"/>
              </a:rPr>
              <a:t>Iværksætteranalyse</a:t>
            </a:r>
          </a:p>
          <a:p>
            <a:pPr marL="0" marR="0" lvl="0" indent="0" algn="l" defTabSz="914400" rtl="0" eaLnBrk="1" fontAlgn="auto" latinLnBrk="0" hangingPunct="1">
              <a:lnSpc>
                <a:spcPct val="90000"/>
              </a:lnSpc>
              <a:spcBef>
                <a:spcPts val="1000"/>
              </a:spcBef>
              <a:spcAft>
                <a:spcPts val="0"/>
              </a:spcAft>
              <a:buClrTx/>
              <a:buSzTx/>
              <a:buFont typeface="Eifont Display" pitchFamily="2" charset="0"/>
              <a:buNone/>
              <a:tabLst/>
              <a:defRPr/>
            </a:pPr>
            <a:r>
              <a:rPr kumimoji="0" lang="da-DK" sz="1600" b="0" i="0" u="none" strike="noStrike" kern="1200" cap="none" spc="0" normalizeH="0" baseline="0" noProof="0">
                <a:ln>
                  <a:noFill/>
                </a:ln>
                <a:solidFill>
                  <a:schemeClr val="accent5"/>
                </a:solidFill>
                <a:effectLst/>
                <a:uLnTx/>
                <a:uFillTx/>
                <a:latin typeface="Eifont" pitchFamily="2" charset="77"/>
                <a:ea typeface="+mn-ea"/>
                <a:cs typeface="+mn-cs"/>
              </a:rPr>
              <a:t>Marts 2026</a:t>
            </a:r>
          </a:p>
        </p:txBody>
      </p:sp>
      <p:pic>
        <p:nvPicPr>
          <p:cNvPr id="16" name="Graphic 5">
            <a:extLst>
              <a:ext uri="{FF2B5EF4-FFF2-40B4-BE49-F238E27FC236}">
                <a16:creationId xmlns:a16="http://schemas.microsoft.com/office/drawing/2014/main" id="{8D39D973-0531-29D7-D9F7-C41FEE3CF3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4213" y="432000"/>
            <a:ext cx="734400" cy="378216"/>
          </a:xfrm>
          <a:prstGeom prst="rect">
            <a:avLst/>
          </a:prstGeom>
        </p:spPr>
      </p:pic>
    </p:spTree>
    <p:extLst>
      <p:ext uri="{BB962C8B-B14F-4D97-AF65-F5344CB8AC3E}">
        <p14:creationId xmlns:p14="http://schemas.microsoft.com/office/powerpoint/2010/main" val="649004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32962-1E4D-FF0D-283F-2A8B63C1F94F}"/>
            </a:ext>
          </a:extLst>
        </p:cNvPr>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36C4A8A8-3CDE-F306-4D3A-DAFD815C40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9" name="think-cell data - do not delete" hidden="1">
                        <a:extLst>
                          <a:ext uri="{FF2B5EF4-FFF2-40B4-BE49-F238E27FC236}">
                            <a16:creationId xmlns:a16="http://schemas.microsoft.com/office/drawing/2014/main" id="{36C4A8A8-3CDE-F306-4D3A-DAFD815C4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0BE571-FB92-F293-4DB3-649AEFB9E3BF}"/>
              </a:ext>
            </a:extLst>
          </p:cNvPr>
          <p:cNvSpPr>
            <a:spLocks noGrp="1"/>
          </p:cNvSpPr>
          <p:nvPr>
            <p:ph type="title"/>
          </p:nvPr>
        </p:nvSpPr>
        <p:spPr/>
        <p:txBody>
          <a:bodyPr vert="horz"/>
          <a:lstStyle/>
          <a:p>
            <a:r>
              <a:rPr lang="da-DK" sz="2800">
                <a:solidFill>
                  <a:srgbClr val="121212"/>
                </a:solidFill>
                <a:latin typeface="Eifont Display" pitchFamily="2" charset="0"/>
              </a:rPr>
              <a:t>Forskelle i branchefordelingen blandt nystiftede virksomheder i by- og landkommuner</a:t>
            </a:r>
            <a:endParaRPr lang="en-GB" sz="2800"/>
          </a:p>
        </p:txBody>
      </p:sp>
      <p:sp>
        <p:nvSpPr>
          <p:cNvPr id="3" name="Text Placeholder 2">
            <a:extLst>
              <a:ext uri="{FF2B5EF4-FFF2-40B4-BE49-F238E27FC236}">
                <a16:creationId xmlns:a16="http://schemas.microsoft.com/office/drawing/2014/main" id="{CFB64C6B-538D-BF70-3AF1-49FD19130FFB}"/>
              </a:ext>
            </a:extLst>
          </p:cNvPr>
          <p:cNvSpPr>
            <a:spLocks noGrp="1"/>
          </p:cNvSpPr>
          <p:nvPr>
            <p:ph type="body" sz="quarter" idx="14"/>
          </p:nvPr>
        </p:nvSpPr>
        <p:spPr/>
        <p:txBody>
          <a:bodyPr/>
          <a:lstStyle/>
          <a:p>
            <a:r>
              <a:rPr lang="en-GB"/>
              <a:t>Brancher </a:t>
            </a:r>
            <a:r>
              <a:rPr lang="en-GB" err="1"/>
              <a:t>og</a:t>
            </a:r>
            <a:r>
              <a:rPr lang="en-GB"/>
              <a:t> </a:t>
            </a:r>
            <a:r>
              <a:rPr lang="en-GB" err="1"/>
              <a:t>kommunetyper</a:t>
            </a:r>
            <a:endParaRPr lang="en-GB"/>
          </a:p>
        </p:txBody>
      </p:sp>
      <p:sp>
        <p:nvSpPr>
          <p:cNvPr id="4" name="Text Placeholder 3">
            <a:extLst>
              <a:ext uri="{FF2B5EF4-FFF2-40B4-BE49-F238E27FC236}">
                <a16:creationId xmlns:a16="http://schemas.microsoft.com/office/drawing/2014/main" id="{0F2515BE-0027-2450-47B8-C88F429155E3}"/>
              </a:ext>
            </a:extLst>
          </p:cNvPr>
          <p:cNvSpPr>
            <a:spLocks noGrp="1"/>
          </p:cNvSpPr>
          <p:nvPr>
            <p:ph type="body" sz="quarter" idx="15"/>
          </p:nvPr>
        </p:nvSpPr>
        <p:spPr/>
        <p:txBody>
          <a:bodyPr/>
          <a:lstStyle/>
          <a:p>
            <a:r>
              <a:rPr lang="da-DK"/>
              <a:t>Note: 1) Kommuneinddelingen i analysen følger Danmarks Statistiks officielle kommunegrupper - </a:t>
            </a:r>
            <a:r>
              <a:rPr lang="da-DK">
                <a:hlinkClick r:id="rId6"/>
              </a:rPr>
              <a:t>DST</a:t>
            </a:r>
            <a:endParaRPr lang="da-DK"/>
          </a:p>
          <a:p>
            <a:endParaRPr lang="en-GB"/>
          </a:p>
        </p:txBody>
      </p:sp>
      <p:sp>
        <p:nvSpPr>
          <p:cNvPr id="5" name="Text Placeholder 4">
            <a:extLst>
              <a:ext uri="{FF2B5EF4-FFF2-40B4-BE49-F238E27FC236}">
                <a16:creationId xmlns:a16="http://schemas.microsoft.com/office/drawing/2014/main" id="{170D0A2B-8D9B-0E8E-47FE-BA0AC90942DE}"/>
              </a:ext>
            </a:extLst>
          </p:cNvPr>
          <p:cNvSpPr>
            <a:spLocks noGrp="1"/>
          </p:cNvSpPr>
          <p:nvPr>
            <p:ph type="body" sz="quarter" idx="16"/>
          </p:nvPr>
        </p:nvSpPr>
        <p:spPr/>
        <p:txBody>
          <a:bodyPr/>
          <a:lstStyle/>
          <a:p>
            <a:r>
              <a:rPr lang="da-DK"/>
              <a:t>Kilde: </a:t>
            </a:r>
            <a:r>
              <a:rPr lang="da-DK" err="1"/>
              <a:t>LassoX</a:t>
            </a:r>
            <a:r>
              <a:rPr lang="da-DK"/>
              <a:t> – hentet februar 2025, </a:t>
            </a:r>
            <a:r>
              <a:rPr lang="da-DK">
                <a:hlinkClick r:id="rId7"/>
              </a:rPr>
              <a:t>Dansk Branchekode 2025 – DB25</a:t>
            </a:r>
            <a:r>
              <a:rPr lang="da-DK"/>
              <a:t> (DST). </a:t>
            </a:r>
          </a:p>
          <a:p>
            <a:endParaRPr lang="en-GB"/>
          </a:p>
        </p:txBody>
      </p:sp>
      <p:cxnSp>
        <p:nvCxnSpPr>
          <p:cNvPr id="7" name="Straight Connector 6">
            <a:extLst>
              <a:ext uri="{FF2B5EF4-FFF2-40B4-BE49-F238E27FC236}">
                <a16:creationId xmlns:a16="http://schemas.microsoft.com/office/drawing/2014/main" id="{C7FB0160-1FD6-C6C4-6A3C-A7B59AF3020D}"/>
              </a:ext>
            </a:extLst>
          </p:cNvPr>
          <p:cNvCxnSpPr>
            <a:cxnSpLocks/>
          </p:cNvCxnSpPr>
          <p:nvPr/>
        </p:nvCxnSpPr>
        <p:spPr>
          <a:xfrm>
            <a:off x="431798" y="2168525"/>
            <a:ext cx="838517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C1856E9-EA33-EB4A-ED5E-D1824BE6B115}"/>
              </a:ext>
            </a:extLst>
          </p:cNvPr>
          <p:cNvSpPr txBox="1"/>
          <p:nvPr/>
        </p:nvSpPr>
        <p:spPr>
          <a:xfrm>
            <a:off x="431798" y="1891526"/>
            <a:ext cx="5627503" cy="276999"/>
          </a:xfrm>
          <a:prstGeom prst="rect">
            <a:avLst/>
          </a:prstGeom>
          <a:noFill/>
        </p:spPr>
        <p:txBody>
          <a:bodyPr wrap="none" lIns="0" rtlCol="0">
            <a:spAutoFit/>
          </a:bodyPr>
          <a:lstStyle/>
          <a:p>
            <a:pPr algn="ctr"/>
            <a:r>
              <a:rPr lang="da-DK" sz="1200" b="1"/>
              <a:t>Andelen af nystiftede virksomheder i 2025 fordelt på kommunetyper</a:t>
            </a:r>
            <a:r>
              <a:rPr lang="da-DK" sz="1200" b="1" baseline="30000"/>
              <a:t>1</a:t>
            </a:r>
            <a:r>
              <a:rPr lang="da-DK" sz="1200" b="1"/>
              <a:t>,</a:t>
            </a:r>
            <a:r>
              <a:rPr lang="da-DK" sz="1200"/>
              <a:t> antal</a:t>
            </a:r>
          </a:p>
        </p:txBody>
      </p:sp>
      <p:graphicFrame>
        <p:nvGraphicFramePr>
          <p:cNvPr id="27" name="Table 26">
            <a:extLst>
              <a:ext uri="{FF2B5EF4-FFF2-40B4-BE49-F238E27FC236}">
                <a16:creationId xmlns:a16="http://schemas.microsoft.com/office/drawing/2014/main" id="{08166762-367C-7E24-AA66-45016F813E0C}"/>
              </a:ext>
            </a:extLst>
          </p:cNvPr>
          <p:cNvGraphicFramePr>
            <a:graphicFrameLocks noGrp="1"/>
          </p:cNvGraphicFramePr>
          <p:nvPr/>
        </p:nvGraphicFramePr>
        <p:xfrm>
          <a:off x="2493047" y="2609911"/>
          <a:ext cx="6323930" cy="3863910"/>
        </p:xfrm>
        <a:graphic>
          <a:graphicData uri="http://schemas.openxmlformats.org/drawingml/2006/table">
            <a:tbl>
              <a:tblPr firstRow="1" bandRow="1">
                <a:tableStyleId>{5C22544A-7EE6-4342-B048-85BDC9FD1C3A}</a:tableStyleId>
              </a:tblPr>
              <a:tblGrid>
                <a:gridCol w="1264786">
                  <a:extLst>
                    <a:ext uri="{9D8B030D-6E8A-4147-A177-3AD203B41FA5}">
                      <a16:colId xmlns:a16="http://schemas.microsoft.com/office/drawing/2014/main" val="1943137185"/>
                    </a:ext>
                  </a:extLst>
                </a:gridCol>
                <a:gridCol w="1264786">
                  <a:extLst>
                    <a:ext uri="{9D8B030D-6E8A-4147-A177-3AD203B41FA5}">
                      <a16:colId xmlns:a16="http://schemas.microsoft.com/office/drawing/2014/main" val="941201579"/>
                    </a:ext>
                  </a:extLst>
                </a:gridCol>
                <a:gridCol w="1264786">
                  <a:extLst>
                    <a:ext uri="{9D8B030D-6E8A-4147-A177-3AD203B41FA5}">
                      <a16:colId xmlns:a16="http://schemas.microsoft.com/office/drawing/2014/main" val="1635378914"/>
                    </a:ext>
                  </a:extLst>
                </a:gridCol>
                <a:gridCol w="1264786">
                  <a:extLst>
                    <a:ext uri="{9D8B030D-6E8A-4147-A177-3AD203B41FA5}">
                      <a16:colId xmlns:a16="http://schemas.microsoft.com/office/drawing/2014/main" val="3910939855"/>
                    </a:ext>
                  </a:extLst>
                </a:gridCol>
                <a:gridCol w="1264786">
                  <a:extLst>
                    <a:ext uri="{9D8B030D-6E8A-4147-A177-3AD203B41FA5}">
                      <a16:colId xmlns:a16="http://schemas.microsoft.com/office/drawing/2014/main" val="1309520008"/>
                    </a:ext>
                  </a:extLst>
                </a:gridCol>
              </a:tblGrid>
              <a:tr h="386391">
                <a:tc>
                  <a:txBody>
                    <a:bodyPr/>
                    <a:lstStyle/>
                    <a:p>
                      <a:pPr algn="ctr" fontAlgn="b">
                        <a:buNone/>
                      </a:pPr>
                      <a:r>
                        <a:rPr lang="da-DK" sz="1000" b="0" i="0" u="none" strike="noStrike">
                          <a:solidFill>
                            <a:schemeClr val="tx1"/>
                          </a:solidFill>
                          <a:effectLst/>
                          <a:latin typeface="Eifont" pitchFamily="2" charset="0"/>
                        </a:rPr>
                        <a:t>29,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25,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24,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24,0%</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19,9%</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extLst>
                  <a:ext uri="{0D108BD9-81ED-4DB2-BD59-A6C34878D82A}">
                    <a16:rowId xmlns:a16="http://schemas.microsoft.com/office/drawing/2014/main" val="1715948624"/>
                  </a:ext>
                </a:extLst>
              </a:tr>
              <a:tr h="386391">
                <a:tc>
                  <a:txBody>
                    <a:bodyPr/>
                    <a:lstStyle/>
                    <a:p>
                      <a:pPr algn="ctr" fontAlgn="b">
                        <a:buNone/>
                      </a:pPr>
                      <a:r>
                        <a:rPr lang="da-DK" sz="1000" b="0" i="0" u="none" strike="noStrike">
                          <a:solidFill>
                            <a:schemeClr val="tx1"/>
                          </a:solidFill>
                          <a:effectLst/>
                          <a:latin typeface="Eifont" pitchFamily="2" charset="0"/>
                        </a:rPr>
                        <a:t>8,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7,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13,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15,8%</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14,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lumMod val="50000"/>
                        <a:alpha val="80000"/>
                      </a:schemeClr>
                    </a:solidFill>
                  </a:tcPr>
                </a:tc>
                <a:extLst>
                  <a:ext uri="{0D108BD9-81ED-4DB2-BD59-A6C34878D82A}">
                    <a16:rowId xmlns:a16="http://schemas.microsoft.com/office/drawing/2014/main" val="3617082453"/>
                  </a:ext>
                </a:extLst>
              </a:tr>
              <a:tr h="386391">
                <a:tc>
                  <a:txBody>
                    <a:bodyPr/>
                    <a:lstStyle/>
                    <a:p>
                      <a:pPr algn="ctr" fontAlgn="b">
                        <a:buNone/>
                      </a:pPr>
                      <a:r>
                        <a:rPr lang="da-DK" sz="1000" b="0" i="0" u="none" strike="noStrike">
                          <a:solidFill>
                            <a:schemeClr val="tx1"/>
                          </a:solidFill>
                          <a:effectLst/>
                          <a:latin typeface="Eifont" pitchFamily="2" charset="0"/>
                        </a:rPr>
                        <a:t>12,9%</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10,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6,5%</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6,6%</a:t>
                      </a:r>
                    </a:p>
                  </a:txBody>
                  <a:tcPr marL="9525" marR="9525" marT="9525" marB="0" anchor="ct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4,6%</a:t>
                      </a: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0000"/>
                      </a:schemeClr>
                    </a:solidFill>
                  </a:tcPr>
                </a:tc>
                <a:extLst>
                  <a:ext uri="{0D108BD9-81ED-4DB2-BD59-A6C34878D82A}">
                    <a16:rowId xmlns:a16="http://schemas.microsoft.com/office/drawing/2014/main" val="3323674967"/>
                  </a:ext>
                </a:extLst>
              </a:tr>
              <a:tr h="386391">
                <a:tc>
                  <a:txBody>
                    <a:bodyPr/>
                    <a:lstStyle/>
                    <a:p>
                      <a:pPr algn="ctr" fontAlgn="b">
                        <a:buNone/>
                      </a:pPr>
                      <a:r>
                        <a:rPr lang="da-DK" sz="1000" b="0" i="0" u="none" strike="noStrike">
                          <a:solidFill>
                            <a:schemeClr val="tx1"/>
                          </a:solidFill>
                          <a:effectLst/>
                          <a:latin typeface="Eifont" pitchFamily="2" charset="0"/>
                        </a:rPr>
                        <a:t>0,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0,9%</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3,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4,7%</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7,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613749304"/>
                  </a:ext>
                </a:extLst>
              </a:tr>
              <a:tr h="386391">
                <a:tc>
                  <a:txBody>
                    <a:bodyPr/>
                    <a:lstStyle/>
                    <a:p>
                      <a:pPr algn="ctr" fontAlgn="b">
                        <a:buNone/>
                      </a:pPr>
                      <a:r>
                        <a:rPr lang="da-DK" sz="1000" b="0" i="0" u="none" strike="noStrike">
                          <a:solidFill>
                            <a:schemeClr val="tx1"/>
                          </a:solidFill>
                          <a:effectLst/>
                          <a:latin typeface="Eifont" pitchFamily="2" charset="0"/>
                        </a:rPr>
                        <a:t>22,5%</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25,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23,8%</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21,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25,0%</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extLst>
                  <a:ext uri="{0D108BD9-81ED-4DB2-BD59-A6C34878D82A}">
                    <a16:rowId xmlns:a16="http://schemas.microsoft.com/office/drawing/2014/main" val="2145142302"/>
                  </a:ext>
                </a:extLst>
              </a:tr>
              <a:tr h="386391">
                <a:tc>
                  <a:txBody>
                    <a:bodyPr/>
                    <a:lstStyle/>
                    <a:p>
                      <a:pPr algn="ctr" fontAlgn="b">
                        <a:buNone/>
                      </a:pPr>
                      <a:r>
                        <a:rPr lang="da-DK" sz="1000" b="0" i="0" u="none" strike="noStrike">
                          <a:solidFill>
                            <a:schemeClr val="tx1"/>
                          </a:solidFill>
                          <a:effectLst/>
                          <a:latin typeface="Eifont" pitchFamily="2" charset="0"/>
                        </a:rPr>
                        <a:t>7,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9,5%</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7,5%</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7,0%</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6,4%</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extLst>
                  <a:ext uri="{0D108BD9-81ED-4DB2-BD59-A6C34878D82A}">
                    <a16:rowId xmlns:a16="http://schemas.microsoft.com/office/drawing/2014/main" val="3256412516"/>
                  </a:ext>
                </a:extLst>
              </a:tr>
              <a:tr h="386391">
                <a:tc>
                  <a:txBody>
                    <a:bodyPr/>
                    <a:lstStyle/>
                    <a:p>
                      <a:pPr algn="ctr" fontAlgn="b">
                        <a:buNone/>
                      </a:pPr>
                      <a:r>
                        <a:rPr lang="da-DK" sz="1000" b="0" i="0" u="none" strike="noStrike">
                          <a:solidFill>
                            <a:schemeClr val="tx1"/>
                          </a:solidFill>
                          <a:effectLst/>
                          <a:latin typeface="Eifont" pitchFamily="2" charset="0"/>
                        </a:rPr>
                        <a:t>4,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5,7%</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6,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5,8%</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6,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2601031121"/>
                  </a:ext>
                </a:extLst>
              </a:tr>
              <a:tr h="386391">
                <a:tc>
                  <a:txBody>
                    <a:bodyPr/>
                    <a:lstStyle/>
                    <a:p>
                      <a:pPr algn="ctr" fontAlgn="b">
                        <a:buNone/>
                      </a:pPr>
                      <a:r>
                        <a:rPr lang="da-DK" sz="1000" b="0" i="0" u="none" strike="noStrike">
                          <a:solidFill>
                            <a:schemeClr val="tx1"/>
                          </a:solidFill>
                          <a:effectLst/>
                          <a:latin typeface="Eifont" pitchFamily="2" charset="0"/>
                        </a:rPr>
                        <a:t>4,4%</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5,0%</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5,4%</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6,4%</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6,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266064968"/>
                  </a:ext>
                </a:extLst>
              </a:tr>
              <a:tr h="386391">
                <a:tc>
                  <a:txBody>
                    <a:bodyPr/>
                    <a:lstStyle/>
                    <a:p>
                      <a:pPr algn="ctr" fontAlgn="b">
                        <a:buNone/>
                      </a:pPr>
                      <a:r>
                        <a:rPr lang="da-DK" sz="1000" b="0" i="0" u="none" strike="noStrike">
                          <a:solidFill>
                            <a:schemeClr val="tx1"/>
                          </a:solidFill>
                          <a:effectLst/>
                          <a:latin typeface="Eifont" pitchFamily="2" charset="0"/>
                        </a:rPr>
                        <a:t>7,9%</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tc>
                  <a:txBody>
                    <a:bodyPr/>
                    <a:lstStyle/>
                    <a:p>
                      <a:pPr algn="ctr" fontAlgn="b">
                        <a:buNone/>
                      </a:pPr>
                      <a:r>
                        <a:rPr lang="da-DK" sz="1000" b="0" i="0" u="none" strike="noStrike">
                          <a:solidFill>
                            <a:schemeClr val="tx1"/>
                          </a:solidFill>
                          <a:effectLst/>
                          <a:latin typeface="Eifont" pitchFamily="2" charset="0"/>
                        </a:rPr>
                        <a:t>8,6%</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8,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6,8%</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20000"/>
                      </a:schemeClr>
                    </a:solidFill>
                  </a:tcPr>
                </a:tc>
                <a:tc>
                  <a:txBody>
                    <a:bodyPr/>
                    <a:lstStyle/>
                    <a:p>
                      <a:pPr algn="ctr" fontAlgn="b">
                        <a:buNone/>
                      </a:pPr>
                      <a:r>
                        <a:rPr lang="da-DK" sz="1000" b="0" i="0" u="none" strike="noStrike">
                          <a:solidFill>
                            <a:schemeClr val="tx1"/>
                          </a:solidFill>
                          <a:effectLst/>
                          <a:latin typeface="Eifont" pitchFamily="2" charset="0"/>
                        </a:rPr>
                        <a:t>8,4%</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extLst>
                  <a:ext uri="{0D108BD9-81ED-4DB2-BD59-A6C34878D82A}">
                    <a16:rowId xmlns:a16="http://schemas.microsoft.com/office/drawing/2014/main" val="571785870"/>
                  </a:ext>
                </a:extLst>
              </a:tr>
              <a:tr h="386391">
                <a:tc>
                  <a:txBody>
                    <a:bodyPr/>
                    <a:lstStyle/>
                    <a:p>
                      <a:pPr algn="ctr" fontAlgn="b">
                        <a:buNone/>
                      </a:pPr>
                      <a:r>
                        <a:rPr lang="da-DK" sz="1000" b="0" i="0" u="none" strike="noStrike">
                          <a:solidFill>
                            <a:schemeClr val="tx1"/>
                          </a:solidFill>
                          <a:effectLst/>
                          <a:latin typeface="Eifont" pitchFamily="2" charset="0"/>
                        </a:rPr>
                        <a:t>2,8%</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b">
                        <a:buNone/>
                      </a:pPr>
                      <a:r>
                        <a:rPr lang="da-DK" sz="1000" b="0" i="0" u="none" strike="noStrike">
                          <a:solidFill>
                            <a:schemeClr val="tx1"/>
                          </a:solidFill>
                          <a:effectLst/>
                          <a:latin typeface="Eifont" pitchFamily="2" charset="0"/>
                        </a:rPr>
                        <a:t>2,0%</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80000"/>
                      </a:schemeClr>
                    </a:solidFill>
                  </a:tcPr>
                </a:tc>
                <a:tc>
                  <a:txBody>
                    <a:bodyPr/>
                    <a:lstStyle/>
                    <a:p>
                      <a:pPr algn="ctr" fontAlgn="b">
                        <a:buNone/>
                      </a:pPr>
                      <a:r>
                        <a:rPr lang="da-DK" sz="1000" b="0" i="0" u="none" strike="noStrike">
                          <a:solidFill>
                            <a:schemeClr val="tx1"/>
                          </a:solidFill>
                          <a:effectLst/>
                          <a:latin typeface="Eifont" pitchFamily="2" charset="0"/>
                        </a:rPr>
                        <a:t>1,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1,3%</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60000"/>
                      </a:schemeClr>
                    </a:solidFill>
                  </a:tcPr>
                </a:tc>
                <a:tc>
                  <a:txBody>
                    <a:bodyPr/>
                    <a:lstStyle/>
                    <a:p>
                      <a:pPr algn="ctr" fontAlgn="b">
                        <a:buNone/>
                      </a:pPr>
                      <a:r>
                        <a:rPr lang="da-DK" sz="1000" b="0" i="0" u="none" strike="noStrike">
                          <a:solidFill>
                            <a:schemeClr val="tx1"/>
                          </a:solidFill>
                          <a:effectLst/>
                          <a:latin typeface="Eifont" pitchFamily="2" charset="0"/>
                        </a:rPr>
                        <a:t>1,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alpha val="40000"/>
                      </a:schemeClr>
                    </a:solidFill>
                  </a:tcPr>
                </a:tc>
                <a:extLst>
                  <a:ext uri="{0D108BD9-81ED-4DB2-BD59-A6C34878D82A}">
                    <a16:rowId xmlns:a16="http://schemas.microsoft.com/office/drawing/2014/main" val="3919356253"/>
                  </a:ext>
                </a:extLst>
              </a:tr>
            </a:tbl>
          </a:graphicData>
        </a:graphic>
      </p:graphicFrame>
      <p:sp>
        <p:nvSpPr>
          <p:cNvPr id="28" name="Rectangle 27">
            <a:extLst>
              <a:ext uri="{FF2B5EF4-FFF2-40B4-BE49-F238E27FC236}">
                <a16:creationId xmlns:a16="http://schemas.microsoft.com/office/drawing/2014/main" id="{719A3AF8-0160-3275-588F-93F8AC567FF8}"/>
              </a:ext>
            </a:extLst>
          </p:cNvPr>
          <p:cNvSpPr/>
          <p:nvPr/>
        </p:nvSpPr>
        <p:spPr>
          <a:xfrm>
            <a:off x="2811298" y="2261003"/>
            <a:ext cx="5837399" cy="3405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Rectangle 28">
            <a:extLst>
              <a:ext uri="{FF2B5EF4-FFF2-40B4-BE49-F238E27FC236}">
                <a16:creationId xmlns:a16="http://schemas.microsoft.com/office/drawing/2014/main" id="{C22B78B7-89B5-316E-0E48-93D32EF8B583}"/>
              </a:ext>
            </a:extLst>
          </p:cNvPr>
          <p:cNvSpPr/>
          <p:nvPr/>
        </p:nvSpPr>
        <p:spPr>
          <a:xfrm>
            <a:off x="431798" y="2650366"/>
            <a:ext cx="2317491" cy="3790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da-DK"/>
          </a:p>
        </p:txBody>
      </p:sp>
      <p:sp>
        <p:nvSpPr>
          <p:cNvPr id="30" name="TextBox 29">
            <a:extLst>
              <a:ext uri="{FF2B5EF4-FFF2-40B4-BE49-F238E27FC236}">
                <a16:creationId xmlns:a16="http://schemas.microsoft.com/office/drawing/2014/main" id="{0B1C83AA-793B-F096-47AB-59B5AEFD9743}"/>
              </a:ext>
            </a:extLst>
          </p:cNvPr>
          <p:cNvSpPr txBox="1"/>
          <p:nvPr/>
        </p:nvSpPr>
        <p:spPr>
          <a:xfrm>
            <a:off x="222888" y="3816052"/>
            <a:ext cx="2284954" cy="246221"/>
          </a:xfrm>
          <a:prstGeom prst="rect">
            <a:avLst/>
          </a:prstGeom>
          <a:noFill/>
        </p:spPr>
        <p:txBody>
          <a:bodyPr wrap="square" rtlCol="0">
            <a:spAutoFit/>
          </a:bodyPr>
          <a:lstStyle/>
          <a:p>
            <a:pPr algn="r"/>
            <a:r>
              <a:rPr lang="da-DK" sz="1000"/>
              <a:t>Landbrug, skovbrug og fiskeri</a:t>
            </a:r>
          </a:p>
        </p:txBody>
      </p:sp>
      <p:sp>
        <p:nvSpPr>
          <p:cNvPr id="31" name="TextBox 30">
            <a:extLst>
              <a:ext uri="{FF2B5EF4-FFF2-40B4-BE49-F238E27FC236}">
                <a16:creationId xmlns:a16="http://schemas.microsoft.com/office/drawing/2014/main" id="{F218929B-8F3E-A969-997A-09E5A5E3195F}"/>
              </a:ext>
            </a:extLst>
          </p:cNvPr>
          <p:cNvSpPr txBox="1"/>
          <p:nvPr/>
        </p:nvSpPr>
        <p:spPr>
          <a:xfrm>
            <a:off x="222354" y="5289232"/>
            <a:ext cx="2285488" cy="401638"/>
          </a:xfrm>
          <a:prstGeom prst="rect">
            <a:avLst/>
          </a:prstGeom>
          <a:noFill/>
        </p:spPr>
        <p:txBody>
          <a:bodyPr wrap="square" rtlCol="0">
            <a:noAutofit/>
          </a:bodyPr>
          <a:lstStyle/>
          <a:p>
            <a:pPr algn="r"/>
            <a:r>
              <a:rPr lang="da-DK" sz="1000"/>
              <a:t>Industri, forsyning og råstofindvinding</a:t>
            </a:r>
          </a:p>
        </p:txBody>
      </p:sp>
      <p:sp>
        <p:nvSpPr>
          <p:cNvPr id="32" name="TextBox 31">
            <a:extLst>
              <a:ext uri="{FF2B5EF4-FFF2-40B4-BE49-F238E27FC236}">
                <a16:creationId xmlns:a16="http://schemas.microsoft.com/office/drawing/2014/main" id="{DFB4B084-871E-A526-5867-197BF4D7A1A8}"/>
              </a:ext>
            </a:extLst>
          </p:cNvPr>
          <p:cNvSpPr txBox="1"/>
          <p:nvPr/>
        </p:nvSpPr>
        <p:spPr>
          <a:xfrm>
            <a:off x="222354" y="3046592"/>
            <a:ext cx="2285488" cy="246221"/>
          </a:xfrm>
          <a:prstGeom prst="rect">
            <a:avLst/>
          </a:prstGeom>
          <a:noFill/>
        </p:spPr>
        <p:txBody>
          <a:bodyPr wrap="square" rtlCol="0">
            <a:noAutofit/>
          </a:bodyPr>
          <a:lstStyle/>
          <a:p>
            <a:pPr algn="r"/>
            <a:r>
              <a:rPr lang="da-DK" sz="1000"/>
              <a:t>Byggeri og anlæg</a:t>
            </a:r>
          </a:p>
        </p:txBody>
      </p:sp>
      <p:sp>
        <p:nvSpPr>
          <p:cNvPr id="33" name="TextBox 32">
            <a:extLst>
              <a:ext uri="{FF2B5EF4-FFF2-40B4-BE49-F238E27FC236}">
                <a16:creationId xmlns:a16="http://schemas.microsoft.com/office/drawing/2014/main" id="{4BB8C433-B9EA-EA59-35EB-3B945C3D9616}"/>
              </a:ext>
            </a:extLst>
          </p:cNvPr>
          <p:cNvSpPr txBox="1"/>
          <p:nvPr/>
        </p:nvSpPr>
        <p:spPr>
          <a:xfrm>
            <a:off x="222354" y="4130187"/>
            <a:ext cx="2285488" cy="400110"/>
          </a:xfrm>
          <a:prstGeom prst="rect">
            <a:avLst/>
          </a:prstGeom>
          <a:noFill/>
        </p:spPr>
        <p:txBody>
          <a:bodyPr wrap="square" rtlCol="0">
            <a:noAutofit/>
          </a:bodyPr>
          <a:lstStyle/>
          <a:p>
            <a:pPr algn="r"/>
            <a:r>
              <a:rPr lang="da-DK" sz="1000"/>
              <a:t>Handel, transport, overnatning og restauranter</a:t>
            </a:r>
          </a:p>
        </p:txBody>
      </p:sp>
      <p:sp>
        <p:nvSpPr>
          <p:cNvPr id="34" name="TextBox 33">
            <a:extLst>
              <a:ext uri="{FF2B5EF4-FFF2-40B4-BE49-F238E27FC236}">
                <a16:creationId xmlns:a16="http://schemas.microsoft.com/office/drawing/2014/main" id="{16EF3563-B601-F2BC-D4DE-0F3F4C6ED06B}"/>
              </a:ext>
            </a:extLst>
          </p:cNvPr>
          <p:cNvSpPr txBox="1"/>
          <p:nvPr/>
        </p:nvSpPr>
        <p:spPr>
          <a:xfrm>
            <a:off x="222888" y="6156817"/>
            <a:ext cx="2285488" cy="246221"/>
          </a:xfrm>
          <a:prstGeom prst="rect">
            <a:avLst/>
          </a:prstGeom>
          <a:noFill/>
        </p:spPr>
        <p:txBody>
          <a:bodyPr wrap="square" rtlCol="0">
            <a:noAutofit/>
          </a:bodyPr>
          <a:lstStyle/>
          <a:p>
            <a:pPr algn="r"/>
            <a:r>
              <a:rPr lang="da-DK" sz="1000"/>
              <a:t>Finansiering og forsikring</a:t>
            </a:r>
          </a:p>
        </p:txBody>
      </p:sp>
      <p:sp>
        <p:nvSpPr>
          <p:cNvPr id="35" name="TextBox 34">
            <a:extLst>
              <a:ext uri="{FF2B5EF4-FFF2-40B4-BE49-F238E27FC236}">
                <a16:creationId xmlns:a16="http://schemas.microsoft.com/office/drawing/2014/main" id="{E79419F7-82AB-E405-8C34-F40EE9410133}"/>
              </a:ext>
            </a:extLst>
          </p:cNvPr>
          <p:cNvSpPr txBox="1"/>
          <p:nvPr/>
        </p:nvSpPr>
        <p:spPr>
          <a:xfrm>
            <a:off x="222354" y="4903393"/>
            <a:ext cx="2285488" cy="400110"/>
          </a:xfrm>
          <a:prstGeom prst="rect">
            <a:avLst/>
          </a:prstGeom>
          <a:noFill/>
        </p:spPr>
        <p:txBody>
          <a:bodyPr wrap="square" rtlCol="0">
            <a:noAutofit/>
          </a:bodyPr>
          <a:lstStyle/>
          <a:p>
            <a:pPr algn="r"/>
            <a:r>
              <a:rPr lang="da-DK" sz="1000"/>
              <a:t>Handel, udlejning og administration af ejendomme</a:t>
            </a:r>
          </a:p>
        </p:txBody>
      </p:sp>
      <p:sp>
        <p:nvSpPr>
          <p:cNvPr id="36" name="TextBox 35">
            <a:extLst>
              <a:ext uri="{FF2B5EF4-FFF2-40B4-BE49-F238E27FC236}">
                <a16:creationId xmlns:a16="http://schemas.microsoft.com/office/drawing/2014/main" id="{5AEE43CC-E70C-5434-F312-0332E8FE77FE}"/>
              </a:ext>
            </a:extLst>
          </p:cNvPr>
          <p:cNvSpPr txBox="1"/>
          <p:nvPr/>
        </p:nvSpPr>
        <p:spPr>
          <a:xfrm>
            <a:off x="222354" y="2661862"/>
            <a:ext cx="2285488" cy="246221"/>
          </a:xfrm>
          <a:prstGeom prst="rect">
            <a:avLst/>
          </a:prstGeom>
          <a:noFill/>
        </p:spPr>
        <p:txBody>
          <a:bodyPr wrap="square" rtlCol="0">
            <a:noAutofit/>
          </a:bodyPr>
          <a:lstStyle/>
          <a:p>
            <a:pPr algn="r"/>
            <a:r>
              <a:rPr lang="da-DK" sz="1000"/>
              <a:t>Rådgivning og forretningsservice</a:t>
            </a:r>
          </a:p>
        </p:txBody>
      </p:sp>
      <p:sp>
        <p:nvSpPr>
          <p:cNvPr id="37" name="TextBox 36">
            <a:extLst>
              <a:ext uri="{FF2B5EF4-FFF2-40B4-BE49-F238E27FC236}">
                <a16:creationId xmlns:a16="http://schemas.microsoft.com/office/drawing/2014/main" id="{1B98DBA2-4949-4B52-3545-5C5F8FA90649}"/>
              </a:ext>
            </a:extLst>
          </p:cNvPr>
          <p:cNvSpPr txBox="1"/>
          <p:nvPr/>
        </p:nvSpPr>
        <p:spPr>
          <a:xfrm>
            <a:off x="222354" y="3431322"/>
            <a:ext cx="2285488" cy="246221"/>
          </a:xfrm>
          <a:prstGeom prst="rect">
            <a:avLst/>
          </a:prstGeom>
          <a:noFill/>
        </p:spPr>
        <p:txBody>
          <a:bodyPr wrap="square" rtlCol="0">
            <a:noAutofit/>
          </a:bodyPr>
          <a:lstStyle/>
          <a:p>
            <a:pPr algn="r"/>
            <a:r>
              <a:rPr lang="da-DK" sz="1000"/>
              <a:t>IT og medier</a:t>
            </a:r>
          </a:p>
        </p:txBody>
      </p:sp>
      <p:sp>
        <p:nvSpPr>
          <p:cNvPr id="38" name="TextBox 37">
            <a:extLst>
              <a:ext uri="{FF2B5EF4-FFF2-40B4-BE49-F238E27FC236}">
                <a16:creationId xmlns:a16="http://schemas.microsoft.com/office/drawing/2014/main" id="{F559B7E9-0B7B-7BF5-F674-C955687D14A3}"/>
              </a:ext>
            </a:extLst>
          </p:cNvPr>
          <p:cNvSpPr txBox="1"/>
          <p:nvPr/>
        </p:nvSpPr>
        <p:spPr>
          <a:xfrm>
            <a:off x="221842" y="4516026"/>
            <a:ext cx="2286000" cy="401638"/>
          </a:xfrm>
          <a:prstGeom prst="rect">
            <a:avLst/>
          </a:prstGeom>
          <a:noFill/>
        </p:spPr>
        <p:txBody>
          <a:bodyPr wrap="square" rtlCol="0">
            <a:noAutofit/>
          </a:bodyPr>
          <a:lstStyle/>
          <a:p>
            <a:pPr algn="r"/>
            <a:r>
              <a:rPr lang="da-DK" sz="1000"/>
              <a:t>Offentlig forvaltning, undervisning og sundhed</a:t>
            </a:r>
          </a:p>
        </p:txBody>
      </p:sp>
      <p:sp>
        <p:nvSpPr>
          <p:cNvPr id="39" name="TextBox 38">
            <a:extLst>
              <a:ext uri="{FF2B5EF4-FFF2-40B4-BE49-F238E27FC236}">
                <a16:creationId xmlns:a16="http://schemas.microsoft.com/office/drawing/2014/main" id="{A7230777-C5B2-F908-E2FF-767A66EE983B}"/>
              </a:ext>
            </a:extLst>
          </p:cNvPr>
          <p:cNvSpPr txBox="1"/>
          <p:nvPr/>
        </p:nvSpPr>
        <p:spPr>
          <a:xfrm>
            <a:off x="222888" y="5676599"/>
            <a:ext cx="2284954" cy="401638"/>
          </a:xfrm>
          <a:prstGeom prst="rect">
            <a:avLst/>
          </a:prstGeom>
          <a:noFill/>
        </p:spPr>
        <p:txBody>
          <a:bodyPr wrap="square" rtlCol="0">
            <a:noAutofit/>
          </a:bodyPr>
          <a:lstStyle/>
          <a:p>
            <a:pPr algn="r"/>
            <a:r>
              <a:rPr lang="da-DK" sz="1000"/>
              <a:t>Kultur, fritid, autoreparation og anden service</a:t>
            </a:r>
          </a:p>
        </p:txBody>
      </p:sp>
      <p:sp>
        <p:nvSpPr>
          <p:cNvPr id="40" name="TextBox 39">
            <a:extLst>
              <a:ext uri="{FF2B5EF4-FFF2-40B4-BE49-F238E27FC236}">
                <a16:creationId xmlns:a16="http://schemas.microsoft.com/office/drawing/2014/main" id="{297C875A-6180-679A-9D7E-531D55D1070D}"/>
              </a:ext>
            </a:extLst>
          </p:cNvPr>
          <p:cNvSpPr txBox="1"/>
          <p:nvPr/>
        </p:nvSpPr>
        <p:spPr>
          <a:xfrm>
            <a:off x="2449579" y="2240732"/>
            <a:ext cx="1367006" cy="400110"/>
          </a:xfrm>
          <a:prstGeom prst="rect">
            <a:avLst/>
          </a:prstGeom>
          <a:noFill/>
        </p:spPr>
        <p:txBody>
          <a:bodyPr wrap="square" rtlCol="0">
            <a:spAutoFit/>
          </a:bodyPr>
          <a:lstStyle/>
          <a:p>
            <a:pPr algn="ctr"/>
            <a:r>
              <a:rPr lang="da-DK" sz="1000"/>
              <a:t>Hovedstads-</a:t>
            </a:r>
          </a:p>
          <a:p>
            <a:pPr algn="ctr"/>
            <a:r>
              <a:rPr lang="da-DK" sz="1000"/>
              <a:t>kommuner</a:t>
            </a:r>
          </a:p>
        </p:txBody>
      </p:sp>
      <p:sp>
        <p:nvSpPr>
          <p:cNvPr id="41" name="TextBox 40">
            <a:extLst>
              <a:ext uri="{FF2B5EF4-FFF2-40B4-BE49-F238E27FC236}">
                <a16:creationId xmlns:a16="http://schemas.microsoft.com/office/drawing/2014/main" id="{A1E4AD4C-D081-51AA-3625-25E18AAAE3B2}"/>
              </a:ext>
            </a:extLst>
          </p:cNvPr>
          <p:cNvSpPr txBox="1"/>
          <p:nvPr/>
        </p:nvSpPr>
        <p:spPr>
          <a:xfrm>
            <a:off x="7502555" y="2240732"/>
            <a:ext cx="1367006" cy="400110"/>
          </a:xfrm>
          <a:prstGeom prst="rect">
            <a:avLst/>
          </a:prstGeom>
          <a:noFill/>
        </p:spPr>
        <p:txBody>
          <a:bodyPr wrap="square" rtlCol="0">
            <a:spAutoFit/>
          </a:bodyPr>
          <a:lstStyle/>
          <a:p>
            <a:pPr algn="ctr"/>
            <a:r>
              <a:rPr lang="da-DK" sz="1000"/>
              <a:t>Land-</a:t>
            </a:r>
          </a:p>
          <a:p>
            <a:pPr algn="ctr"/>
            <a:r>
              <a:rPr lang="da-DK" sz="1000"/>
              <a:t>kommuner</a:t>
            </a:r>
          </a:p>
        </p:txBody>
      </p:sp>
      <p:sp>
        <p:nvSpPr>
          <p:cNvPr id="42" name="TextBox 41">
            <a:extLst>
              <a:ext uri="{FF2B5EF4-FFF2-40B4-BE49-F238E27FC236}">
                <a16:creationId xmlns:a16="http://schemas.microsoft.com/office/drawing/2014/main" id="{29BE8BF9-CA03-BEDD-8C34-388BA926CC75}"/>
              </a:ext>
            </a:extLst>
          </p:cNvPr>
          <p:cNvSpPr txBox="1"/>
          <p:nvPr/>
        </p:nvSpPr>
        <p:spPr>
          <a:xfrm>
            <a:off x="6239311" y="2240732"/>
            <a:ext cx="1367006" cy="400110"/>
          </a:xfrm>
          <a:prstGeom prst="rect">
            <a:avLst/>
          </a:prstGeom>
          <a:noFill/>
        </p:spPr>
        <p:txBody>
          <a:bodyPr wrap="square" rtlCol="0">
            <a:spAutoFit/>
          </a:bodyPr>
          <a:lstStyle/>
          <a:p>
            <a:pPr algn="ctr"/>
            <a:r>
              <a:rPr lang="da-DK" sz="1000"/>
              <a:t>Oplands-</a:t>
            </a:r>
          </a:p>
          <a:p>
            <a:pPr algn="ctr"/>
            <a:r>
              <a:rPr lang="da-DK" sz="1000"/>
              <a:t>kommuner</a:t>
            </a:r>
          </a:p>
        </p:txBody>
      </p:sp>
      <p:sp>
        <p:nvSpPr>
          <p:cNvPr id="43" name="TextBox 42">
            <a:extLst>
              <a:ext uri="{FF2B5EF4-FFF2-40B4-BE49-F238E27FC236}">
                <a16:creationId xmlns:a16="http://schemas.microsoft.com/office/drawing/2014/main" id="{7121B981-9EC8-52E4-330D-8CB66229B222}"/>
              </a:ext>
            </a:extLst>
          </p:cNvPr>
          <p:cNvSpPr txBox="1"/>
          <p:nvPr/>
        </p:nvSpPr>
        <p:spPr>
          <a:xfrm>
            <a:off x="4976067" y="2240732"/>
            <a:ext cx="1367006" cy="400110"/>
          </a:xfrm>
          <a:prstGeom prst="rect">
            <a:avLst/>
          </a:prstGeom>
          <a:noFill/>
        </p:spPr>
        <p:txBody>
          <a:bodyPr wrap="square" rtlCol="0">
            <a:spAutoFit/>
          </a:bodyPr>
          <a:lstStyle/>
          <a:p>
            <a:pPr algn="ctr"/>
            <a:r>
              <a:rPr lang="da-DK" sz="1000"/>
              <a:t>Provinsby-</a:t>
            </a:r>
          </a:p>
          <a:p>
            <a:pPr algn="ctr"/>
            <a:r>
              <a:rPr lang="da-DK" sz="1000"/>
              <a:t>kommuner</a:t>
            </a:r>
          </a:p>
        </p:txBody>
      </p:sp>
      <p:sp>
        <p:nvSpPr>
          <p:cNvPr id="44" name="TextBox 43">
            <a:extLst>
              <a:ext uri="{FF2B5EF4-FFF2-40B4-BE49-F238E27FC236}">
                <a16:creationId xmlns:a16="http://schemas.microsoft.com/office/drawing/2014/main" id="{74CEB4D1-E4A2-B2B3-0BF0-F424E002BA8A}"/>
              </a:ext>
            </a:extLst>
          </p:cNvPr>
          <p:cNvSpPr txBox="1"/>
          <p:nvPr/>
        </p:nvSpPr>
        <p:spPr>
          <a:xfrm>
            <a:off x="3712823" y="2240732"/>
            <a:ext cx="1367006" cy="400110"/>
          </a:xfrm>
          <a:prstGeom prst="rect">
            <a:avLst/>
          </a:prstGeom>
          <a:noFill/>
        </p:spPr>
        <p:txBody>
          <a:bodyPr wrap="square" rtlCol="0">
            <a:spAutoFit/>
          </a:bodyPr>
          <a:lstStyle/>
          <a:p>
            <a:pPr algn="ctr"/>
            <a:r>
              <a:rPr lang="da-DK" sz="1000"/>
              <a:t>Storby-</a:t>
            </a:r>
          </a:p>
          <a:p>
            <a:pPr algn="ctr"/>
            <a:r>
              <a:rPr lang="da-DK" sz="1000"/>
              <a:t>kommuner</a:t>
            </a:r>
          </a:p>
        </p:txBody>
      </p:sp>
      <p:sp>
        <p:nvSpPr>
          <p:cNvPr id="46" name="Rectangle 45">
            <a:extLst>
              <a:ext uri="{FF2B5EF4-FFF2-40B4-BE49-F238E27FC236}">
                <a16:creationId xmlns:a16="http://schemas.microsoft.com/office/drawing/2014/main" id="{6D0A74FE-E616-99A1-0BB1-2B57A16EA25D}"/>
              </a:ext>
            </a:extLst>
          </p:cNvPr>
          <p:cNvSpPr/>
          <p:nvPr/>
        </p:nvSpPr>
        <p:spPr>
          <a:xfrm>
            <a:off x="447040" y="2261003"/>
            <a:ext cx="2077774" cy="341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a-DK" sz="1000" b="1">
                <a:solidFill>
                  <a:schemeClr val="tx1"/>
                </a:solidFill>
              </a:rPr>
              <a:t>Brancher</a:t>
            </a:r>
            <a:endParaRPr lang="da-DK" b="1">
              <a:solidFill>
                <a:schemeClr val="tx1"/>
              </a:solidFill>
            </a:endParaRPr>
          </a:p>
        </p:txBody>
      </p:sp>
      <p:sp>
        <p:nvSpPr>
          <p:cNvPr id="12" name="TextBox 11">
            <a:extLst>
              <a:ext uri="{FF2B5EF4-FFF2-40B4-BE49-F238E27FC236}">
                <a16:creationId xmlns:a16="http://schemas.microsoft.com/office/drawing/2014/main" id="{88C3B436-9B9C-D45F-BD62-074A363C5AB6}"/>
              </a:ext>
            </a:extLst>
          </p:cNvPr>
          <p:cNvSpPr txBox="1"/>
          <p:nvPr/>
        </p:nvSpPr>
        <p:spPr>
          <a:xfrm>
            <a:off x="10815638" y="6424613"/>
            <a:ext cx="942975" cy="246221"/>
          </a:xfrm>
          <a:prstGeom prst="rect">
            <a:avLst/>
          </a:prstGeom>
          <a:noFill/>
        </p:spPr>
        <p:txBody>
          <a:bodyPr wrap="square" rtlCol="0">
            <a:spAutoFit/>
          </a:bodyPr>
          <a:lstStyle/>
          <a:p>
            <a:pPr algn="r"/>
            <a:r>
              <a:rPr lang="en-GB" sz="1000"/>
              <a:t>10</a:t>
            </a:r>
          </a:p>
        </p:txBody>
      </p:sp>
      <p:sp>
        <p:nvSpPr>
          <p:cNvPr id="15" name="TextBox 14">
            <a:extLst>
              <a:ext uri="{FF2B5EF4-FFF2-40B4-BE49-F238E27FC236}">
                <a16:creationId xmlns:a16="http://schemas.microsoft.com/office/drawing/2014/main" id="{D4F51EFA-6C96-21B9-BCAC-007BD21E3B80}"/>
              </a:ext>
            </a:extLst>
          </p:cNvPr>
          <p:cNvSpPr txBox="1"/>
          <p:nvPr/>
        </p:nvSpPr>
        <p:spPr>
          <a:xfrm>
            <a:off x="9018588" y="1891526"/>
            <a:ext cx="808876" cy="461665"/>
          </a:xfrm>
          <a:prstGeom prst="rect">
            <a:avLst/>
          </a:prstGeom>
          <a:noFill/>
        </p:spPr>
        <p:txBody>
          <a:bodyPr wrap="none" lIns="0" rtlCol="0">
            <a:spAutoFit/>
          </a:bodyPr>
          <a:lstStyle/>
          <a:p>
            <a:r>
              <a:rPr lang="en-GB" sz="1200" b="1"/>
              <a:t>Highlights</a:t>
            </a:r>
          </a:p>
          <a:p>
            <a:endParaRPr lang="en-GB" sz="1200" b="1"/>
          </a:p>
        </p:txBody>
      </p:sp>
      <p:cxnSp>
        <p:nvCxnSpPr>
          <p:cNvPr id="16" name="Straight Connector 15">
            <a:extLst>
              <a:ext uri="{FF2B5EF4-FFF2-40B4-BE49-F238E27FC236}">
                <a16:creationId xmlns:a16="http://schemas.microsoft.com/office/drawing/2014/main" id="{3EE439C9-4001-8B9C-3890-17EA59404F3F}"/>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CD6C6B3-7938-508A-6B31-7EAA263BA0B6}"/>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Forskellige brancheprofiler: </a:t>
            </a:r>
            <a:r>
              <a:rPr lang="da-DK" sz="1000" b="0"/>
              <a:t>Tydelige forskelle i branchesammensætning på tværs af kommunetyper.</a:t>
            </a:r>
          </a:p>
          <a:p>
            <a:endParaRPr lang="da-DK" sz="1000"/>
          </a:p>
          <a:p>
            <a:r>
              <a:rPr lang="da-DK" sz="1000" err="1"/>
              <a:t>Vidensservice</a:t>
            </a:r>
            <a:r>
              <a:rPr lang="da-DK" sz="1000"/>
              <a:t> dominerer i Hovedstaden: </a:t>
            </a:r>
            <a:r>
              <a:rPr lang="da-DK" sz="1000" b="0"/>
              <a:t>Højere andel af rådgivning, IT samt finansiering og forsikring i hovedstadskommuner.</a:t>
            </a:r>
          </a:p>
          <a:p>
            <a:endParaRPr lang="da-DK" sz="1000"/>
          </a:p>
          <a:p>
            <a:r>
              <a:rPr lang="da-DK" sz="1000"/>
              <a:t>Primære og sekundære erhverv fylder i oplandet: </a:t>
            </a:r>
            <a:r>
              <a:rPr lang="da-DK" sz="1000" b="0"/>
              <a:t>Landbrug, byggeri og industri er relativt mere udbredt i oplands- og landkommuner.</a:t>
            </a:r>
          </a:p>
          <a:p>
            <a:endParaRPr lang="da-DK" sz="1000"/>
          </a:p>
          <a:p>
            <a:r>
              <a:rPr lang="da-DK" sz="1000"/>
              <a:t>Størst forskel i tre brancher: </a:t>
            </a:r>
            <a:r>
              <a:rPr lang="da-DK" sz="1000" b="0"/>
              <a:t>Rådgivning og forretningsservice, byggeri og anlæg samt IT og medier har de største forskelle på tværs af kommunetyper.</a:t>
            </a:r>
          </a:p>
          <a:p>
            <a:endParaRPr lang="da-DK" sz="1000"/>
          </a:p>
          <a:p>
            <a:r>
              <a:rPr lang="da-DK" sz="1000"/>
              <a:t>Landbrug markant højere i landkommuner: </a:t>
            </a:r>
            <a:r>
              <a:rPr lang="da-DK" sz="1000" b="0"/>
              <a:t>Andelen af nystiftede virksomheder inden for landbrug er mere end 25 gange højere i landkommuner end i hovedstadskommuner.</a:t>
            </a:r>
            <a:endParaRPr lang="en-GB" sz="1000" b="0"/>
          </a:p>
        </p:txBody>
      </p:sp>
    </p:spTree>
    <p:extLst>
      <p:ext uri="{BB962C8B-B14F-4D97-AF65-F5344CB8AC3E}">
        <p14:creationId xmlns:p14="http://schemas.microsoft.com/office/powerpoint/2010/main" val="25802304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a:extLst>
            <a:ext uri="{FF2B5EF4-FFF2-40B4-BE49-F238E27FC236}">
              <a16:creationId xmlns:a16="http://schemas.microsoft.com/office/drawing/2014/main" id="{D3997AF1-924C-07DA-31DD-7B1391285585}"/>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81AD9C20-0B95-CD6F-89B7-7F02C7BF4077}"/>
              </a:ext>
            </a:extLst>
          </p:cNvPr>
          <p:cNvGraphicFramePr>
            <a:graphicFrameLocks noChangeAspect="1"/>
          </p:cNvGraphicFramePr>
          <p:nvPr>
            <p:custDataLst>
              <p:tags r:id="rId1"/>
            </p:custDataLst>
            <p:extLst>
              <p:ext uri="{D42A27DB-BD31-4B8C-83A1-F6EECF244321}">
                <p14:modId xmlns:p14="http://schemas.microsoft.com/office/powerpoint/2010/main" val="150267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9" imgH="360" progId="TCLayout.ActiveDocument.1">
                  <p:embed/>
                </p:oleObj>
              </mc:Choice>
              <mc:Fallback>
                <p:oleObj name="think-cell Slide" r:id="rId7" imgW="359" imgH="360" progId="TCLayout.ActiveDocument.1">
                  <p:embed/>
                  <p:pic>
                    <p:nvPicPr>
                      <p:cNvPr id="31" name="think-cell data - do not delete" hidden="1">
                        <a:extLst>
                          <a:ext uri="{FF2B5EF4-FFF2-40B4-BE49-F238E27FC236}">
                            <a16:creationId xmlns:a16="http://schemas.microsoft.com/office/drawing/2014/main" id="{81AD9C20-0B95-CD6F-89B7-7F02C7BF407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Arrow: Right 12">
            <a:extLst>
              <a:ext uri="{FF2B5EF4-FFF2-40B4-BE49-F238E27FC236}">
                <a16:creationId xmlns:a16="http://schemas.microsoft.com/office/drawing/2014/main" id="{490247A9-41AB-0A42-91A4-12403B42291E}"/>
              </a:ext>
            </a:extLst>
          </p:cNvPr>
          <p:cNvSpPr/>
          <p:nvPr/>
        </p:nvSpPr>
        <p:spPr>
          <a:xfrm>
            <a:off x="431799" y="1820133"/>
            <a:ext cx="11324420" cy="523095"/>
          </a:xfrm>
          <a:prstGeom prst="rightArrow">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xtBox 18">
            <a:extLst>
              <a:ext uri="{FF2B5EF4-FFF2-40B4-BE49-F238E27FC236}">
                <a16:creationId xmlns:a16="http://schemas.microsoft.com/office/drawing/2014/main" id="{C75C6DA6-527E-FABB-D45E-3D9EEF090539}"/>
              </a:ext>
            </a:extLst>
          </p:cNvPr>
          <p:cNvSpPr txBox="1"/>
          <p:nvPr/>
        </p:nvSpPr>
        <p:spPr>
          <a:xfrm>
            <a:off x="431800" y="2780735"/>
            <a:ext cx="3255963" cy="2292935"/>
          </a:xfrm>
          <a:prstGeom prst="rect">
            <a:avLst/>
          </a:prstGeom>
          <a:noFill/>
        </p:spPr>
        <p:txBody>
          <a:bodyPr wrap="square" rtlCol="0">
            <a:noAutofit/>
          </a:bodyPr>
          <a:lstStyle/>
          <a:p>
            <a:pPr algn="ctr"/>
            <a:r>
              <a:rPr lang="da-DK" sz="1100" kern="100">
                <a:solidFill>
                  <a:schemeClr val="accent5"/>
                </a:solidFill>
                <a:latin typeface="Eifont" pitchFamily="2" charset="0"/>
                <a:ea typeface="Eifont" pitchFamily="2" charset="0"/>
                <a:cs typeface="Times New Roman" panose="02020603050405020304" pitchFamily="18" charset="0"/>
              </a:rPr>
              <a:t>Data stammer fra CVR-registret og er indhentet via platformen, Lasso X. </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r>
              <a:rPr lang="da-DK" sz="1100">
                <a:solidFill>
                  <a:schemeClr val="accent5"/>
                </a:solidFill>
                <a:latin typeface="Eifont" pitchFamily="2" charset="0"/>
                <a:ea typeface="Eifont" pitchFamily="2" charset="0"/>
                <a:cs typeface="Times New Roman" panose="02020603050405020304" pitchFamily="18" charset="0"/>
              </a:rPr>
              <a:t>Holdingselskaber indgår ikke i opgørelserne og er sorteret fra via Lasso X. Dette gøres ved at ekskludere virksomheder med branchekoder specifikt for holdingselskaber, eller hvor teksten ”</a:t>
            </a:r>
            <a:r>
              <a:rPr lang="da-DK" sz="1100" err="1">
                <a:solidFill>
                  <a:schemeClr val="accent5"/>
                </a:solidFill>
                <a:latin typeface="Eifont" pitchFamily="2" charset="0"/>
                <a:ea typeface="Eifont" pitchFamily="2" charset="0"/>
                <a:cs typeface="Times New Roman" panose="02020603050405020304" pitchFamily="18" charset="0"/>
              </a:rPr>
              <a:t>holding</a:t>
            </a:r>
            <a:r>
              <a:rPr lang="da-DK" sz="1100">
                <a:solidFill>
                  <a:schemeClr val="accent5"/>
                </a:solidFill>
                <a:latin typeface="Eifont" pitchFamily="2" charset="0"/>
                <a:ea typeface="Eifont" pitchFamily="2" charset="0"/>
                <a:cs typeface="Times New Roman" panose="02020603050405020304" pitchFamily="18" charset="0"/>
              </a:rPr>
              <a:t>” indgår i navn eller formål.</a:t>
            </a:r>
          </a:p>
          <a:p>
            <a:pPr algn="ctr"/>
            <a:endParaRPr lang="da-DK" sz="1100">
              <a:solidFill>
                <a:schemeClr val="accent5"/>
              </a:solidFill>
              <a:latin typeface="Eifont" pitchFamily="2" charset="0"/>
              <a:ea typeface="Eifont" pitchFamily="2" charset="0"/>
              <a:cs typeface="Times New Roman" panose="02020603050405020304" pitchFamily="18" charset="0"/>
            </a:endParaRPr>
          </a:p>
          <a:p>
            <a:pPr algn="ctr"/>
            <a:r>
              <a:rPr lang="da-DK" sz="1100" kern="100">
                <a:solidFill>
                  <a:schemeClr val="accent5"/>
                </a:solidFill>
                <a:latin typeface="Eifont" pitchFamily="2" charset="0"/>
                <a:ea typeface="Eifont" pitchFamily="2" charset="0"/>
                <a:cs typeface="Times New Roman" panose="02020603050405020304" pitchFamily="18" charset="0"/>
              </a:rPr>
              <a:t>Analysen dækker over selskabsformerne A/S, ApS og Enkeltmandsvirksomheder. </a:t>
            </a:r>
          </a:p>
          <a:p>
            <a:pPr algn="ctr"/>
            <a:endParaRPr lang="da-DK" sz="1100">
              <a:solidFill>
                <a:schemeClr val="accent5"/>
              </a:solidFill>
              <a:latin typeface="Eifont" pitchFamily="2" charset="0"/>
              <a:ea typeface="Eifont" pitchFamily="2" charset="0"/>
              <a:cs typeface="Times New Roman" panose="02020603050405020304" pitchFamily="18" charset="0"/>
            </a:endParaRPr>
          </a:p>
          <a:p>
            <a:pPr algn="ctr"/>
            <a:r>
              <a:rPr lang="da-DK" sz="1100">
                <a:solidFill>
                  <a:schemeClr val="accent5"/>
                </a:solidFill>
                <a:latin typeface="Eifont" pitchFamily="2" charset="0"/>
                <a:ea typeface="Eifont" pitchFamily="2" charset="0"/>
                <a:cs typeface="Times New Roman" panose="02020603050405020304" pitchFamily="18" charset="0"/>
              </a:rPr>
              <a:t>Det bemærkes, at denne analyse bygger på et bruttodatatræk fra CVR og derfor ikke tager højde for virksomhedernes reelle aktivitet. </a:t>
            </a:r>
          </a:p>
          <a:p>
            <a:pPr algn="ctr"/>
            <a:endParaRPr lang="da-DK" sz="1100">
              <a:solidFill>
                <a:schemeClr val="accent5"/>
              </a:solidFill>
              <a:latin typeface="Eifont" pitchFamily="2" charset="0"/>
              <a:ea typeface="Eifont" pitchFamily="2" charset="0"/>
              <a:cs typeface="Times New Roman" panose="02020603050405020304" pitchFamily="18" charset="0"/>
            </a:endParaRPr>
          </a:p>
          <a:p>
            <a:endParaRPr lang="da-DK" sz="1100" kern="100">
              <a:solidFill>
                <a:schemeClr val="accent5"/>
              </a:solidFill>
              <a:latin typeface="Eifont" pitchFamily="2" charset="0"/>
              <a:cs typeface="Times New Roman" panose="02020603050405020304" pitchFamily="18" charset="0"/>
            </a:endParaRPr>
          </a:p>
        </p:txBody>
      </p:sp>
      <p:sp>
        <p:nvSpPr>
          <p:cNvPr id="29" name="TextBox 28">
            <a:extLst>
              <a:ext uri="{FF2B5EF4-FFF2-40B4-BE49-F238E27FC236}">
                <a16:creationId xmlns:a16="http://schemas.microsoft.com/office/drawing/2014/main" id="{8911A981-B611-B2C3-426C-72453F4FF2DE}"/>
              </a:ext>
            </a:extLst>
          </p:cNvPr>
          <p:cNvSpPr txBox="1"/>
          <p:nvPr/>
        </p:nvSpPr>
        <p:spPr>
          <a:xfrm>
            <a:off x="4468019" y="2780735"/>
            <a:ext cx="3255963" cy="2292935"/>
          </a:xfrm>
          <a:prstGeom prst="rect">
            <a:avLst/>
          </a:prstGeom>
          <a:noFill/>
        </p:spPr>
        <p:txBody>
          <a:bodyPr wrap="square" rtlCol="0">
            <a:noAutofit/>
          </a:bodyPr>
          <a:lstStyle/>
          <a:p>
            <a:pPr algn="ctr"/>
            <a:r>
              <a:rPr lang="da-DK" sz="1100" kern="100">
                <a:solidFill>
                  <a:schemeClr val="accent5"/>
                </a:solidFill>
                <a:latin typeface="Eifont" pitchFamily="2" charset="0"/>
                <a:ea typeface="Eifont" pitchFamily="2" charset="0"/>
                <a:cs typeface="Times New Roman" panose="02020603050405020304" pitchFamily="18" charset="0"/>
              </a:rPr>
              <a:t>I modsætning til iværksætterdata fra fx Danmarks Statistik er datagrundlaget ikke afgrænset til reelt aktive virksomheder (</a:t>
            </a:r>
            <a:r>
              <a:rPr lang="da-DK" sz="1100" kern="100">
                <a:solidFill>
                  <a:schemeClr val="accent5"/>
                </a:solidFill>
                <a:latin typeface="Eifont" pitchFamily="2" charset="0"/>
                <a:ea typeface="Eifont" pitchFamily="2" charset="0"/>
                <a:cs typeface="Times New Roman" panose="02020603050405020304" pitchFamily="18" charset="0"/>
                <a:hlinkClick r:id="rId9"/>
              </a:rPr>
              <a:t>Statistikdokumentation for Generel firmastatistik 2024</a:t>
            </a:r>
            <a:r>
              <a:rPr lang="da-DK" sz="1100" kern="100">
                <a:solidFill>
                  <a:schemeClr val="accent5"/>
                </a:solidFill>
                <a:latin typeface="Eifont" pitchFamily="2" charset="0"/>
                <a:ea typeface="Eifont" pitchFamily="2" charset="0"/>
                <a:cs typeface="Times New Roman" panose="02020603050405020304" pitchFamily="18" charset="0"/>
              </a:rPr>
              <a:t>).</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r>
              <a:rPr lang="da-DK" sz="1100" kern="100">
                <a:solidFill>
                  <a:schemeClr val="accent5"/>
                </a:solidFill>
                <a:latin typeface="Eifont" pitchFamily="2" charset="0"/>
                <a:ea typeface="Eifont" pitchFamily="2" charset="0"/>
                <a:cs typeface="Times New Roman" panose="02020603050405020304" pitchFamily="18" charset="0"/>
              </a:rPr>
              <a:t>Analysens konklusioner kan dermed afvige fra øvrige analyser af dansk iværksætteri, som baserer sig på data fra Danmarks Statistik.</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r>
              <a:rPr lang="da-DK" sz="1100">
                <a:solidFill>
                  <a:schemeClr val="accent5"/>
                </a:solidFill>
                <a:latin typeface="Eifont" pitchFamily="2" charset="0"/>
                <a:ea typeface="Eifont" pitchFamily="2" charset="0"/>
                <a:cs typeface="Times New Roman" panose="02020603050405020304" pitchFamily="18" charset="0"/>
              </a:rPr>
              <a:t>Analysen giver dog en foreløbig indikation af udviklingen indenfor iværksætteri med afsæt i sidste års data, hvor der i perioden 2019-2024 observeres en sammenhæng mellem den overordnede udvikling i bruttotallene og bearbejdede tal fra DST. Tal for 2025 er endnu ikke tilgængelige fra DST endnu.</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endParaRPr lang="da-DK" sz="1100" kern="100">
              <a:solidFill>
                <a:schemeClr val="accent5"/>
              </a:solidFill>
              <a:latin typeface="Eifont" pitchFamily="2" charset="0"/>
              <a:cs typeface="Times New Roman" panose="02020603050405020304" pitchFamily="18" charset="0"/>
            </a:endParaRPr>
          </a:p>
          <a:p>
            <a:endParaRPr lang="da-DK" sz="1100" kern="100">
              <a:solidFill>
                <a:schemeClr val="accent5"/>
              </a:solidFill>
              <a:latin typeface="Eifont" pitchFamily="2" charset="0"/>
              <a:cs typeface="Times New Roman" panose="02020603050405020304" pitchFamily="18" charset="0"/>
            </a:endParaRPr>
          </a:p>
        </p:txBody>
      </p:sp>
      <p:sp>
        <p:nvSpPr>
          <p:cNvPr id="30" name="TextBox 29">
            <a:extLst>
              <a:ext uri="{FF2B5EF4-FFF2-40B4-BE49-F238E27FC236}">
                <a16:creationId xmlns:a16="http://schemas.microsoft.com/office/drawing/2014/main" id="{1CDF9F10-8E64-B227-E6CF-924A7EFDCF9B}"/>
              </a:ext>
            </a:extLst>
          </p:cNvPr>
          <p:cNvSpPr txBox="1"/>
          <p:nvPr/>
        </p:nvSpPr>
        <p:spPr>
          <a:xfrm>
            <a:off x="8499764" y="2780735"/>
            <a:ext cx="3256455" cy="3477875"/>
          </a:xfrm>
          <a:prstGeom prst="rect">
            <a:avLst/>
          </a:prstGeom>
          <a:noFill/>
        </p:spPr>
        <p:txBody>
          <a:bodyPr wrap="square" rtlCol="0">
            <a:spAutoFit/>
          </a:bodyPr>
          <a:lstStyle/>
          <a:p>
            <a:pPr algn="ctr"/>
            <a:r>
              <a:rPr lang="da-DK" sz="1100" kern="100">
                <a:solidFill>
                  <a:schemeClr val="accent5"/>
                </a:solidFill>
                <a:latin typeface="Eifont" pitchFamily="2" charset="0"/>
                <a:ea typeface="Eifont" pitchFamily="2" charset="0"/>
                <a:cs typeface="Times New Roman" panose="02020603050405020304" pitchFamily="18" charset="0"/>
              </a:rPr>
              <a:t>I CVR-registeret er virksomhedernes branchekode fra og med 2025 opdateret fra Dansk Branchekode 2007 (DB07) til Dansk Branchekode 2025 (DB25). </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r>
              <a:rPr lang="da-DK" sz="1100" kern="100">
                <a:solidFill>
                  <a:schemeClr val="accent5"/>
                </a:solidFill>
                <a:latin typeface="Eifont" pitchFamily="2" charset="0"/>
                <a:ea typeface="Eifont" pitchFamily="2" charset="0"/>
                <a:cs typeface="Times New Roman" panose="02020603050405020304" pitchFamily="18" charset="0"/>
              </a:rPr>
              <a:t>Overgangen betyder, at virksomheder fremover klassificeres efter en nyere brancheinddeling,. I denne rapport anvendes DB25 for første gang. Det forbedrer relevansen af brancheopdelingen, men indebærer samtidig, at resultater på brancheniveau ikke altid er direkte sammenlignelige med tidligere års opgørelser baseret på DB07. </a:t>
            </a:r>
          </a:p>
          <a:p>
            <a:pPr algn="ctr"/>
            <a:endParaRPr lang="da-DK" sz="1100" kern="100">
              <a:solidFill>
                <a:schemeClr val="accent5"/>
              </a:solidFill>
              <a:latin typeface="Eifont" pitchFamily="2" charset="0"/>
              <a:ea typeface="Eifont" pitchFamily="2" charset="0"/>
              <a:cs typeface="Times New Roman" panose="02020603050405020304" pitchFamily="18" charset="0"/>
            </a:endParaRPr>
          </a:p>
          <a:p>
            <a:pPr algn="ctr"/>
            <a:r>
              <a:rPr lang="da-DK" sz="1100" kern="100">
                <a:solidFill>
                  <a:schemeClr val="accent5"/>
                </a:solidFill>
                <a:latin typeface="Eifont" pitchFamily="2" charset="0"/>
                <a:ea typeface="Eifont" pitchFamily="2" charset="0"/>
                <a:cs typeface="Times New Roman" panose="02020603050405020304" pitchFamily="18" charset="0"/>
              </a:rPr>
              <a:t>Ved sammenligning over tid skal eventuelle ændringer derfor tolkes med forbehold, da forskelle kan skyldes </a:t>
            </a:r>
            <a:r>
              <a:rPr lang="da-DK" sz="1100" kern="100" err="1">
                <a:solidFill>
                  <a:schemeClr val="accent5"/>
                </a:solidFill>
                <a:latin typeface="Eifont" pitchFamily="2" charset="0"/>
                <a:ea typeface="Eifont" pitchFamily="2" charset="0"/>
                <a:cs typeface="Times New Roman" panose="02020603050405020304" pitchFamily="18" charset="0"/>
              </a:rPr>
              <a:t>omkodning</a:t>
            </a:r>
            <a:r>
              <a:rPr lang="da-DK" sz="1100" kern="100">
                <a:solidFill>
                  <a:schemeClr val="accent5"/>
                </a:solidFill>
                <a:latin typeface="Eifont" pitchFamily="2" charset="0"/>
                <a:ea typeface="Eifont" pitchFamily="2" charset="0"/>
                <a:cs typeface="Times New Roman" panose="02020603050405020304" pitchFamily="18" charset="0"/>
              </a:rPr>
              <a:t> og justeringer i brancheinddelingen – og ikke nødvendigvis ændringer i den faktiske iværksætteraktivitet.</a:t>
            </a:r>
          </a:p>
          <a:p>
            <a:endParaRPr lang="da-DK" sz="1100" kern="100">
              <a:solidFill>
                <a:schemeClr val="accent5"/>
              </a:solidFill>
              <a:latin typeface="Eifont" pitchFamily="2" charset="0"/>
              <a:cs typeface="Times New Roman" panose="02020603050405020304" pitchFamily="18" charset="0"/>
            </a:endParaRPr>
          </a:p>
        </p:txBody>
      </p:sp>
      <p:sp>
        <p:nvSpPr>
          <p:cNvPr id="3" name="Title 14">
            <a:extLst>
              <a:ext uri="{FF2B5EF4-FFF2-40B4-BE49-F238E27FC236}">
                <a16:creationId xmlns:a16="http://schemas.microsoft.com/office/drawing/2014/main" id="{C4141119-E2F1-D449-CD4E-CFD0E8BAD19A}"/>
              </a:ext>
            </a:extLst>
          </p:cNvPr>
          <p:cNvSpPr txBox="1">
            <a:spLocks/>
          </p:cNvSpPr>
          <p:nvPr/>
        </p:nvSpPr>
        <p:spPr>
          <a:xfrm>
            <a:off x="431799" y="431802"/>
            <a:ext cx="10383839" cy="966187"/>
          </a:xfrm>
          <a:prstGeom prst="rect">
            <a:avLst/>
          </a:prstGeom>
        </p:spPr>
        <p:txBody>
          <a:bodyPr vert="horz" anchor="b"/>
          <a:lstStyle>
            <a:lvl1pPr algn="l" defTabSz="914400" rtl="0" eaLnBrk="1" latinLnBrk="0" hangingPunct="1">
              <a:lnSpc>
                <a:spcPct val="90000"/>
              </a:lnSpc>
              <a:spcBef>
                <a:spcPct val="0"/>
              </a:spcBef>
              <a:buNone/>
              <a:defRPr sz="3600" b="0" i="0" kern="1200">
                <a:solidFill>
                  <a:schemeClr val="tx1"/>
                </a:solidFill>
                <a:latin typeface="Eifont Display" pitchFamily="2" charset="77"/>
                <a:ea typeface="+mj-ea"/>
                <a:cs typeface="+mj-cs"/>
              </a:defRPr>
            </a:lvl1pPr>
          </a:lstStyle>
          <a:p>
            <a:r>
              <a:rPr lang="da-DK" sz="2800">
                <a:solidFill>
                  <a:schemeClr val="accent5"/>
                </a:solidFill>
                <a:latin typeface="Eifont Display" pitchFamily="2" charset="0"/>
              </a:rPr>
              <a:t>Datagrundlag</a:t>
            </a:r>
          </a:p>
          <a:p>
            <a:endParaRPr lang="da-DK" sz="2800">
              <a:solidFill>
                <a:schemeClr val="bg1"/>
              </a:solidFill>
            </a:endParaRPr>
          </a:p>
        </p:txBody>
      </p:sp>
      <p:sp>
        <p:nvSpPr>
          <p:cNvPr id="2" name="TextBox 1">
            <a:extLst>
              <a:ext uri="{FF2B5EF4-FFF2-40B4-BE49-F238E27FC236}">
                <a16:creationId xmlns:a16="http://schemas.microsoft.com/office/drawing/2014/main" id="{EBF6DFFC-F136-B615-7B3E-1737E39F9E87}"/>
              </a:ext>
            </a:extLst>
          </p:cNvPr>
          <p:cNvSpPr txBox="1"/>
          <p:nvPr/>
        </p:nvSpPr>
        <p:spPr>
          <a:xfrm>
            <a:off x="10815638" y="6424613"/>
            <a:ext cx="942975" cy="246221"/>
          </a:xfrm>
          <a:prstGeom prst="rect">
            <a:avLst/>
          </a:prstGeom>
          <a:noFill/>
        </p:spPr>
        <p:txBody>
          <a:bodyPr wrap="square" rtlCol="0">
            <a:spAutoFit/>
          </a:bodyPr>
          <a:lstStyle/>
          <a:p>
            <a:pPr algn="r"/>
            <a:r>
              <a:rPr lang="en-GB" sz="1000">
                <a:solidFill>
                  <a:schemeClr val="accent5"/>
                </a:solidFill>
              </a:rPr>
              <a:t>11</a:t>
            </a:r>
          </a:p>
        </p:txBody>
      </p:sp>
      <p:pic>
        <p:nvPicPr>
          <p:cNvPr id="4" name="Graphic 5">
            <a:extLst>
              <a:ext uri="{FF2B5EF4-FFF2-40B4-BE49-F238E27FC236}">
                <a16:creationId xmlns:a16="http://schemas.microsoft.com/office/drawing/2014/main" id="{5CA285C8-B089-FEA5-B843-866F0E3F42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24213" y="432000"/>
            <a:ext cx="734400" cy="378216"/>
          </a:xfrm>
          <a:prstGeom prst="rect">
            <a:avLst/>
          </a:prstGeom>
        </p:spPr>
      </p:pic>
      <p:sp>
        <p:nvSpPr>
          <p:cNvPr id="17" name="Oval 16">
            <a:extLst>
              <a:ext uri="{FF2B5EF4-FFF2-40B4-BE49-F238E27FC236}">
                <a16:creationId xmlns:a16="http://schemas.microsoft.com/office/drawing/2014/main" id="{B2930A6C-D285-3512-18D3-E22A2FD5422C}"/>
              </a:ext>
            </a:extLst>
          </p:cNvPr>
          <p:cNvSpPr/>
          <p:nvPr/>
        </p:nvSpPr>
        <p:spPr>
          <a:xfrm>
            <a:off x="1356943" y="1432587"/>
            <a:ext cx="1268400" cy="125955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Picture 17" descr="A black and green logo &#10;&#10;Description automatically generated">
            <a:extLst>
              <a:ext uri="{FF2B5EF4-FFF2-40B4-BE49-F238E27FC236}">
                <a16:creationId xmlns:a16="http://schemas.microsoft.com/office/drawing/2014/main" id="{335D29A2-0947-DECB-B7A4-7DFB2AE84856}"/>
              </a:ext>
            </a:extLst>
          </p:cNvPr>
          <p:cNvPicPr>
            <a:picLocks noChangeAspect="1"/>
          </p:cNvPicPr>
          <p:nvPr>
            <p:custDataLst>
              <p:tags r:id="rId2"/>
            </p:custDataLst>
          </p:nvPr>
        </p:nvPicPr>
        <p:blipFill rotWithShape="1">
          <a:blip r:embed="rId12">
            <a:extLst>
              <a:ext uri="{28A0092B-C50C-407E-A947-70E740481C1C}">
                <a14:useLocalDpi xmlns:a14="http://schemas.microsoft.com/office/drawing/2010/main" val="0"/>
              </a:ext>
            </a:extLst>
          </a:blip>
          <a:srcRect/>
          <a:stretch>
            <a:fillRect/>
          </a:stretch>
        </p:blipFill>
        <p:spPr>
          <a:xfrm>
            <a:off x="1343025" y="1432587"/>
            <a:ext cx="1259550" cy="1259550"/>
          </a:xfrm>
          <a:prstGeom prst="rect">
            <a:avLst/>
          </a:prstGeom>
          <a:ln>
            <a:noFill/>
          </a:ln>
        </p:spPr>
      </p:pic>
      <p:sp>
        <p:nvSpPr>
          <p:cNvPr id="21" name="Oval 20">
            <a:extLst>
              <a:ext uri="{FF2B5EF4-FFF2-40B4-BE49-F238E27FC236}">
                <a16:creationId xmlns:a16="http://schemas.microsoft.com/office/drawing/2014/main" id="{BBA3FC17-CA0E-3270-DB4E-0EF2E057A2E2}"/>
              </a:ext>
            </a:extLst>
          </p:cNvPr>
          <p:cNvSpPr/>
          <p:nvPr/>
        </p:nvSpPr>
        <p:spPr>
          <a:xfrm>
            <a:off x="5459808" y="1420480"/>
            <a:ext cx="1268400" cy="125955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phic 32">
            <a:extLst>
              <a:ext uri="{FF2B5EF4-FFF2-40B4-BE49-F238E27FC236}">
                <a16:creationId xmlns:a16="http://schemas.microsoft.com/office/drawing/2014/main" id="{3C48B885-E808-30D1-9239-038D946532FE}"/>
              </a:ext>
            </a:extLst>
          </p:cNvPr>
          <p:cNvPicPr>
            <a:picLocks noChangeAspect="1"/>
          </p:cNvPicPr>
          <p:nvPr>
            <p:custDataLst>
              <p:tags r:id="rId3"/>
            </p:custDataLst>
          </p:nvPr>
        </p:nvPicPr>
        <p:blipFill>
          <a:blip r:embed="rId13">
            <a:extLst>
              <a:ext uri="{96DAC541-7B7A-43D3-8B79-37D633B846F1}">
                <asvg:svgBlip xmlns:asvg="http://schemas.microsoft.com/office/drawing/2016/SVG/main" r:embed="rId14"/>
              </a:ext>
            </a:extLst>
          </a:blip>
          <a:srcRect/>
          <a:stretch>
            <a:fillRect/>
          </a:stretch>
        </p:blipFill>
        <p:spPr>
          <a:xfrm>
            <a:off x="5459808" y="1423736"/>
            <a:ext cx="1268401" cy="1268401"/>
          </a:xfrm>
          <a:prstGeom prst="rect">
            <a:avLst/>
          </a:prstGeom>
        </p:spPr>
      </p:pic>
      <p:grpSp>
        <p:nvGrpSpPr>
          <p:cNvPr id="14" name="Group 13">
            <a:extLst>
              <a:ext uri="{FF2B5EF4-FFF2-40B4-BE49-F238E27FC236}">
                <a16:creationId xmlns:a16="http://schemas.microsoft.com/office/drawing/2014/main" id="{8F7E350E-5590-8E4C-0054-EDBF0E7FBFD4}"/>
              </a:ext>
            </a:extLst>
          </p:cNvPr>
          <p:cNvGrpSpPr/>
          <p:nvPr/>
        </p:nvGrpSpPr>
        <p:grpSpPr>
          <a:xfrm>
            <a:off x="9475884" y="1420480"/>
            <a:ext cx="1304214" cy="1306647"/>
            <a:chOff x="9487525" y="1474088"/>
            <a:chExt cx="1304214" cy="1306647"/>
          </a:xfrm>
        </p:grpSpPr>
        <p:sp>
          <p:nvSpPr>
            <p:cNvPr id="11" name="Oval 20">
              <a:extLst>
                <a:ext uri="{FF2B5EF4-FFF2-40B4-BE49-F238E27FC236}">
                  <a16:creationId xmlns:a16="http://schemas.microsoft.com/office/drawing/2014/main" id="{2F7AA2F0-E463-13E4-CF75-DBE159396297}"/>
                </a:ext>
              </a:extLst>
            </p:cNvPr>
            <p:cNvSpPr/>
            <p:nvPr/>
          </p:nvSpPr>
          <p:spPr>
            <a:xfrm>
              <a:off x="9523339" y="1474088"/>
              <a:ext cx="1268400" cy="125955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Eifont"/>
                <a:ea typeface="+mn-ea"/>
                <a:cs typeface="+mn-cs"/>
              </a:endParaRPr>
            </a:p>
          </p:txBody>
        </p:sp>
        <p:sp>
          <p:nvSpPr>
            <p:cNvPr id="24" name="Oval 23">
              <a:extLst>
                <a:ext uri="{FF2B5EF4-FFF2-40B4-BE49-F238E27FC236}">
                  <a16:creationId xmlns:a16="http://schemas.microsoft.com/office/drawing/2014/main" id="{DC18E282-BEBD-5EB0-79EA-00F41C5D8E34}"/>
                </a:ext>
              </a:extLst>
            </p:cNvPr>
            <p:cNvSpPr/>
            <p:nvPr/>
          </p:nvSpPr>
          <p:spPr>
            <a:xfrm>
              <a:off x="9487525" y="1521185"/>
              <a:ext cx="1268400" cy="125955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Picture 35" descr="A magnifying glass with a dollar sign &#10;&#10;Description automatically generated">
              <a:extLst>
                <a:ext uri="{FF2B5EF4-FFF2-40B4-BE49-F238E27FC236}">
                  <a16:creationId xmlns:a16="http://schemas.microsoft.com/office/drawing/2014/main" id="{8A87E683-67DD-AE57-48A7-8512D1AC0C8E}"/>
                </a:ext>
              </a:extLst>
            </p:cNvPr>
            <p:cNvPicPr>
              <a:picLocks noChangeAspect="1"/>
            </p:cNvPicPr>
            <p:nvPr>
              <p:custDataLst>
                <p:tags r:id="rId4"/>
              </p:custDataLst>
            </p:nvPr>
          </p:nvPicPr>
          <p:blipFill rotWithShape="1">
            <a:blip r:embed="rId15">
              <a:extLst>
                <a:ext uri="{28A0092B-C50C-407E-A947-70E740481C1C}">
                  <a14:useLocalDpi xmlns:a14="http://schemas.microsoft.com/office/drawing/2010/main" val="0"/>
                </a:ext>
              </a:extLst>
            </a:blip>
            <a:srcRect/>
            <a:stretch>
              <a:fillRect/>
            </a:stretch>
          </p:blipFill>
          <p:spPr>
            <a:xfrm>
              <a:off x="9528467" y="1474088"/>
              <a:ext cx="1258144" cy="1259550"/>
            </a:xfrm>
            <a:prstGeom prst="rect">
              <a:avLst/>
            </a:prstGeom>
            <a:ln>
              <a:noFill/>
            </a:ln>
          </p:spPr>
        </p:pic>
      </p:grpSp>
    </p:spTree>
    <p:extLst>
      <p:ext uri="{BB962C8B-B14F-4D97-AF65-F5344CB8AC3E}">
        <p14:creationId xmlns:p14="http://schemas.microsoft.com/office/powerpoint/2010/main" val="1892122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72A1EADD-BDE6-CC43-2D9A-3C68055A178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6C3010-4958-817F-DD25-90A604299229}"/>
              </a:ext>
            </a:extLst>
          </p:cNvPr>
          <p:cNvGraphicFramePr>
            <a:graphicFrameLocks noChangeAspect="1"/>
          </p:cNvGraphicFramePr>
          <p:nvPr>
            <p:custDataLst>
              <p:tags r:id="rId1"/>
            </p:custDataLst>
            <p:extLst>
              <p:ext uri="{D42A27DB-BD31-4B8C-83A1-F6EECF244321}">
                <p14:modId xmlns:p14="http://schemas.microsoft.com/office/powerpoint/2010/main" val="1839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426C3010-4958-817F-DD25-90A604299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FCBE560-E12E-8BFD-B89C-DECD89C1E6F1}"/>
              </a:ext>
            </a:extLst>
          </p:cNvPr>
          <p:cNvSpPr>
            <a:spLocks noGrp="1"/>
          </p:cNvSpPr>
          <p:nvPr>
            <p:ph type="body" sz="quarter" idx="12"/>
          </p:nvPr>
        </p:nvSpPr>
        <p:spPr>
          <a:xfrm>
            <a:off x="431799" y="4787900"/>
            <a:ext cx="3413087" cy="1636713"/>
          </a:xfrm>
        </p:spPr>
        <p:txBody>
          <a:bodyPr/>
          <a:lstStyle/>
          <a:p>
            <a:r>
              <a:rPr lang="da-DK" noProof="0">
                <a:solidFill>
                  <a:schemeClr val="tx1"/>
                </a:solidFill>
              </a:rPr>
              <a:t>Kontakt: </a:t>
            </a:r>
          </a:p>
          <a:p>
            <a:r>
              <a:rPr lang="da-DK" b="1" noProof="0">
                <a:solidFill>
                  <a:schemeClr val="tx1"/>
                </a:solidFill>
              </a:rPr>
              <a:t>Ida Damsgaard</a:t>
            </a:r>
          </a:p>
          <a:p>
            <a:r>
              <a:rPr lang="da-DK" noProof="0">
                <a:solidFill>
                  <a:schemeClr val="tx1"/>
                </a:solidFill>
              </a:rPr>
              <a:t>Analyse &amp; Strategi</a:t>
            </a:r>
          </a:p>
          <a:p>
            <a:r>
              <a:rPr lang="da-DK" noProof="0">
                <a:solidFill>
                  <a:schemeClr val="tx1"/>
                </a:solidFill>
              </a:rPr>
              <a:t>M: +45 24 66 39 72– E: idda@eifo.dk </a:t>
            </a:r>
          </a:p>
        </p:txBody>
      </p:sp>
      <p:grpSp>
        <p:nvGrpSpPr>
          <p:cNvPr id="4" name="Group 3">
            <a:extLst>
              <a:ext uri="{FF2B5EF4-FFF2-40B4-BE49-F238E27FC236}">
                <a16:creationId xmlns:a16="http://schemas.microsoft.com/office/drawing/2014/main" id="{FE9B5968-BCC0-2592-5F2A-D86C6601F20E}"/>
              </a:ext>
            </a:extLst>
          </p:cNvPr>
          <p:cNvGrpSpPr/>
          <p:nvPr/>
        </p:nvGrpSpPr>
        <p:grpSpPr>
          <a:xfrm>
            <a:off x="6540449" y="988659"/>
            <a:ext cx="4519591" cy="2283344"/>
            <a:chOff x="558186" y="540659"/>
            <a:chExt cx="4519591" cy="2283344"/>
          </a:xfrm>
        </p:grpSpPr>
        <p:grpSp>
          <p:nvGrpSpPr>
            <p:cNvPr id="30" name="Group 29">
              <a:extLst>
                <a:ext uri="{FF2B5EF4-FFF2-40B4-BE49-F238E27FC236}">
                  <a16:creationId xmlns:a16="http://schemas.microsoft.com/office/drawing/2014/main" id="{AC5EC1E9-E6B0-2677-1D1A-9C92BDBFB9A9}"/>
                </a:ext>
              </a:extLst>
            </p:cNvPr>
            <p:cNvGrpSpPr/>
            <p:nvPr/>
          </p:nvGrpSpPr>
          <p:grpSpPr>
            <a:xfrm>
              <a:off x="558186" y="540659"/>
              <a:ext cx="1640178" cy="2283344"/>
              <a:chOff x="558186" y="540659"/>
              <a:chExt cx="1640178" cy="2283344"/>
            </a:xfrm>
          </p:grpSpPr>
          <p:sp>
            <p:nvSpPr>
              <p:cNvPr id="7" name="Rectangle 6">
                <a:extLst>
                  <a:ext uri="{FF2B5EF4-FFF2-40B4-BE49-F238E27FC236}">
                    <a16:creationId xmlns:a16="http://schemas.microsoft.com/office/drawing/2014/main" id="{DE0E0BB8-4F40-9CBD-5FD6-905EDB5827C6}"/>
                  </a:ext>
                </a:extLst>
              </p:cNvPr>
              <p:cNvSpPr/>
              <p:nvPr/>
            </p:nvSpPr>
            <p:spPr>
              <a:xfrm>
                <a:off x="616106" y="599703"/>
                <a:ext cx="1582258" cy="2224300"/>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9" name="Rectangle 8">
                <a:extLst>
                  <a:ext uri="{FF2B5EF4-FFF2-40B4-BE49-F238E27FC236}">
                    <a16:creationId xmlns:a16="http://schemas.microsoft.com/office/drawing/2014/main" id="{E0464850-67EF-8B35-ABB9-C7CB887614F9}"/>
                  </a:ext>
                </a:extLst>
              </p:cNvPr>
              <p:cNvSpPr/>
              <p:nvPr/>
            </p:nvSpPr>
            <p:spPr>
              <a:xfrm>
                <a:off x="596498" y="580111"/>
                <a:ext cx="1582258" cy="2224300"/>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0" name="Rectangle 9">
                <a:extLst>
                  <a:ext uri="{FF2B5EF4-FFF2-40B4-BE49-F238E27FC236}">
                    <a16:creationId xmlns:a16="http://schemas.microsoft.com/office/drawing/2014/main" id="{783EA85B-5E10-E8D8-3978-7B8D042BB97D}"/>
                  </a:ext>
                </a:extLst>
              </p:cNvPr>
              <p:cNvSpPr/>
              <p:nvPr/>
            </p:nvSpPr>
            <p:spPr>
              <a:xfrm>
                <a:off x="576891" y="560520"/>
                <a:ext cx="1582258" cy="2224300"/>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pic>
            <p:nvPicPr>
              <p:cNvPr id="5" name="Picture 4">
                <a:extLst>
                  <a:ext uri="{FF2B5EF4-FFF2-40B4-BE49-F238E27FC236}">
                    <a16:creationId xmlns:a16="http://schemas.microsoft.com/office/drawing/2014/main" id="{8A02643A-7C9A-E963-F55C-969888099103}"/>
                  </a:ext>
                </a:extLst>
              </p:cNvPr>
              <p:cNvPicPr>
                <a:picLocks noChangeAspect="1"/>
              </p:cNvPicPr>
              <p:nvPr/>
            </p:nvPicPr>
            <p:blipFill>
              <a:blip r:embed="rId5"/>
              <a:srcRect t="433"/>
              <a:stretch>
                <a:fillRect/>
              </a:stretch>
            </p:blipFill>
            <p:spPr>
              <a:xfrm>
                <a:off x="558186" y="540659"/>
                <a:ext cx="1581356" cy="2224570"/>
              </a:xfrm>
              <a:prstGeom prst="rect">
                <a:avLst/>
              </a:prstGeom>
              <a:ln w="3175">
                <a:solidFill>
                  <a:schemeClr val="tx1"/>
                </a:solidFill>
              </a:ln>
            </p:spPr>
          </p:pic>
        </p:grpSp>
        <p:sp>
          <p:nvSpPr>
            <p:cNvPr id="13" name="TextBox 12">
              <a:extLst>
                <a:ext uri="{FF2B5EF4-FFF2-40B4-BE49-F238E27FC236}">
                  <a16:creationId xmlns:a16="http://schemas.microsoft.com/office/drawing/2014/main" id="{ECF799B2-B0AD-1482-A1F3-B56B2268A620}"/>
                </a:ext>
              </a:extLst>
            </p:cNvPr>
            <p:cNvSpPr txBox="1"/>
            <p:nvPr/>
          </p:nvSpPr>
          <p:spPr>
            <a:xfrm>
              <a:off x="2250758" y="540659"/>
              <a:ext cx="2827019" cy="1015663"/>
            </a:xfrm>
            <a:prstGeom prst="rect">
              <a:avLst/>
            </a:prstGeom>
            <a:noFill/>
          </p:spPr>
          <p:txBody>
            <a:bodyPr wrap="square" rtlCol="0">
              <a:spAutoFit/>
            </a:bodyPr>
            <a:lstStyle/>
            <a:p>
              <a:r>
                <a:rPr lang="da-DK" sz="1200" b="1" noProof="0">
                  <a:solidFill>
                    <a:schemeClr val="bg1"/>
                  </a:solidFill>
                  <a:hlinkClick r:id="rId6"/>
                </a:rPr>
                <a:t>From Startup to </a:t>
              </a:r>
              <a:r>
                <a:rPr lang="da-DK" sz="1200" b="1" noProof="0" err="1">
                  <a:solidFill>
                    <a:schemeClr val="bg1"/>
                  </a:solidFill>
                  <a:hlinkClick r:id="rId6"/>
                </a:rPr>
                <a:t>Scaleup</a:t>
              </a:r>
              <a:endParaRPr lang="da-DK" sz="1200" noProof="0"/>
            </a:p>
            <a:p>
              <a:r>
                <a:rPr lang="da-DK" sz="1200" noProof="0"/>
                <a:t>Status på det dansk kapital marked for startups og SMV’er</a:t>
              </a:r>
            </a:p>
            <a:p>
              <a:endParaRPr lang="da-DK" sz="1200" noProof="0"/>
            </a:p>
            <a:p>
              <a:r>
                <a:rPr lang="da-DK" sz="1200" noProof="0"/>
                <a:t>August 2025</a:t>
              </a:r>
            </a:p>
          </p:txBody>
        </p:sp>
      </p:grpSp>
      <p:grpSp>
        <p:nvGrpSpPr>
          <p:cNvPr id="11" name="Group 10">
            <a:extLst>
              <a:ext uri="{FF2B5EF4-FFF2-40B4-BE49-F238E27FC236}">
                <a16:creationId xmlns:a16="http://schemas.microsoft.com/office/drawing/2014/main" id="{42044AAD-9476-2D02-79C1-DC2A168162FD}"/>
              </a:ext>
            </a:extLst>
          </p:cNvPr>
          <p:cNvGrpSpPr/>
          <p:nvPr/>
        </p:nvGrpSpPr>
        <p:grpSpPr>
          <a:xfrm>
            <a:off x="431800" y="2832289"/>
            <a:ext cx="4805958" cy="1384995"/>
            <a:chOff x="1290042" y="2832289"/>
            <a:chExt cx="4805958" cy="1384995"/>
          </a:xfrm>
        </p:grpSpPr>
        <p:grpSp>
          <p:nvGrpSpPr>
            <p:cNvPr id="31" name="Group 30">
              <a:extLst>
                <a:ext uri="{FF2B5EF4-FFF2-40B4-BE49-F238E27FC236}">
                  <a16:creationId xmlns:a16="http://schemas.microsoft.com/office/drawing/2014/main" id="{0F8956AF-CE4D-1374-BB43-7096BF79389B}"/>
                </a:ext>
              </a:extLst>
            </p:cNvPr>
            <p:cNvGrpSpPr/>
            <p:nvPr/>
          </p:nvGrpSpPr>
          <p:grpSpPr>
            <a:xfrm>
              <a:off x="1290042" y="2832289"/>
              <a:ext cx="1881541" cy="1078456"/>
              <a:chOff x="271819" y="3330272"/>
              <a:chExt cx="1881541" cy="1078456"/>
            </a:xfrm>
          </p:grpSpPr>
          <p:sp>
            <p:nvSpPr>
              <p:cNvPr id="16" name="Rectangle 15">
                <a:extLst>
                  <a:ext uri="{FF2B5EF4-FFF2-40B4-BE49-F238E27FC236}">
                    <a16:creationId xmlns:a16="http://schemas.microsoft.com/office/drawing/2014/main" id="{E321B2B0-457C-7FC2-A80C-B9EC7D480A9E}"/>
                  </a:ext>
                </a:extLst>
              </p:cNvPr>
              <p:cNvSpPr/>
              <p:nvPr/>
            </p:nvSpPr>
            <p:spPr>
              <a:xfrm>
                <a:off x="331293" y="3393066"/>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7" name="Rectangle 16">
                <a:extLst>
                  <a:ext uri="{FF2B5EF4-FFF2-40B4-BE49-F238E27FC236}">
                    <a16:creationId xmlns:a16="http://schemas.microsoft.com/office/drawing/2014/main" id="{62CDC07A-7A24-6B92-7AE6-22DB6C499789}"/>
                  </a:ext>
                </a:extLst>
              </p:cNvPr>
              <p:cNvSpPr/>
              <p:nvPr/>
            </p:nvSpPr>
            <p:spPr>
              <a:xfrm>
                <a:off x="311469" y="3372134"/>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8" name="Rectangle 17">
                <a:extLst>
                  <a:ext uri="{FF2B5EF4-FFF2-40B4-BE49-F238E27FC236}">
                    <a16:creationId xmlns:a16="http://schemas.microsoft.com/office/drawing/2014/main" id="{175DC24A-C3A3-CE52-73FD-1E979E64D84D}"/>
                  </a:ext>
                </a:extLst>
              </p:cNvPr>
              <p:cNvSpPr/>
              <p:nvPr/>
            </p:nvSpPr>
            <p:spPr>
              <a:xfrm>
                <a:off x="291644" y="3351203"/>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pic>
            <p:nvPicPr>
              <p:cNvPr id="15" name="Picture 14">
                <a:extLst>
                  <a:ext uri="{FF2B5EF4-FFF2-40B4-BE49-F238E27FC236}">
                    <a16:creationId xmlns:a16="http://schemas.microsoft.com/office/drawing/2014/main" id="{0C72DC65-6380-8731-8E5A-A263B6133D47}"/>
                  </a:ext>
                </a:extLst>
              </p:cNvPr>
              <p:cNvPicPr>
                <a:picLocks noChangeAspect="1"/>
              </p:cNvPicPr>
              <p:nvPr/>
            </p:nvPicPr>
            <p:blipFill>
              <a:blip r:embed="rId7"/>
              <a:stretch>
                <a:fillRect/>
              </a:stretch>
            </p:blipFill>
            <p:spPr>
              <a:xfrm>
                <a:off x="271819" y="3330272"/>
                <a:ext cx="1822067" cy="1015662"/>
              </a:xfrm>
              <a:prstGeom prst="rect">
                <a:avLst/>
              </a:prstGeom>
            </p:spPr>
          </p:pic>
        </p:grpSp>
        <p:sp>
          <p:nvSpPr>
            <p:cNvPr id="20" name="TextBox 19">
              <a:extLst>
                <a:ext uri="{FF2B5EF4-FFF2-40B4-BE49-F238E27FC236}">
                  <a16:creationId xmlns:a16="http://schemas.microsoft.com/office/drawing/2014/main" id="{B5F3E2CA-DEFE-106D-84AE-4799B3D1873F}"/>
                </a:ext>
              </a:extLst>
            </p:cNvPr>
            <p:cNvSpPr txBox="1"/>
            <p:nvPr/>
          </p:nvSpPr>
          <p:spPr>
            <a:xfrm>
              <a:off x="3268981" y="2832289"/>
              <a:ext cx="2827019" cy="1384995"/>
            </a:xfrm>
            <a:prstGeom prst="rect">
              <a:avLst/>
            </a:prstGeom>
            <a:noFill/>
          </p:spPr>
          <p:txBody>
            <a:bodyPr wrap="square" rtlCol="0">
              <a:spAutoFit/>
            </a:bodyPr>
            <a:lstStyle/>
            <a:p>
              <a:r>
                <a:rPr lang="da-DK" sz="1200" b="1" noProof="0">
                  <a:solidFill>
                    <a:schemeClr val="bg1"/>
                  </a:solidFill>
                  <a:hlinkClick r:id="rId8"/>
                </a:rPr>
                <a:t>Danish Life science Venture </a:t>
              </a:r>
              <a:r>
                <a:rPr lang="da-DK" sz="1200" b="1" noProof="0" err="1">
                  <a:solidFill>
                    <a:schemeClr val="bg1"/>
                  </a:solidFill>
                  <a:hlinkClick r:id="rId8"/>
                </a:rPr>
                <a:t>capital</a:t>
              </a:r>
              <a:endParaRPr lang="da-DK" sz="1200" b="1" noProof="0">
                <a:solidFill>
                  <a:schemeClr val="bg1"/>
                </a:solidFill>
              </a:endParaRPr>
            </a:p>
            <a:p>
              <a:r>
                <a:rPr lang="da-DK" sz="1200" noProof="0"/>
                <a:t>Nylige tendenser og markedsudsigter for den danske </a:t>
              </a:r>
              <a:r>
                <a:rPr lang="da-DK" sz="1200" noProof="0" err="1"/>
                <a:t>life</a:t>
              </a:r>
              <a:r>
                <a:rPr lang="da-DK" sz="1200" noProof="0"/>
                <a:t> science-industri.</a:t>
              </a:r>
            </a:p>
            <a:p>
              <a:endParaRPr lang="da-DK" sz="1200" noProof="0"/>
            </a:p>
            <a:p>
              <a:endParaRPr lang="da-DK" sz="1200" noProof="0"/>
            </a:p>
            <a:p>
              <a:r>
                <a:rPr lang="da-DK" sz="1200" noProof="0"/>
                <a:t>Juli 2025</a:t>
              </a:r>
            </a:p>
            <a:p>
              <a:endParaRPr lang="da-DK" sz="1200" noProof="0">
                <a:solidFill>
                  <a:schemeClr val="bg1"/>
                </a:solidFill>
              </a:endParaRPr>
            </a:p>
          </p:txBody>
        </p:sp>
      </p:grpSp>
      <p:grpSp>
        <p:nvGrpSpPr>
          <p:cNvPr id="6" name="Group 5">
            <a:extLst>
              <a:ext uri="{FF2B5EF4-FFF2-40B4-BE49-F238E27FC236}">
                <a16:creationId xmlns:a16="http://schemas.microsoft.com/office/drawing/2014/main" id="{0B26ED93-06F2-EA91-6EA0-F27A9C562FAB}"/>
              </a:ext>
            </a:extLst>
          </p:cNvPr>
          <p:cNvGrpSpPr/>
          <p:nvPr/>
        </p:nvGrpSpPr>
        <p:grpSpPr>
          <a:xfrm>
            <a:off x="431800" y="992893"/>
            <a:ext cx="5301049" cy="1384995"/>
            <a:chOff x="1349516" y="992893"/>
            <a:chExt cx="5301049" cy="1384995"/>
          </a:xfrm>
        </p:grpSpPr>
        <p:grpSp>
          <p:nvGrpSpPr>
            <p:cNvPr id="37" name="Group 36">
              <a:extLst>
                <a:ext uri="{FF2B5EF4-FFF2-40B4-BE49-F238E27FC236}">
                  <a16:creationId xmlns:a16="http://schemas.microsoft.com/office/drawing/2014/main" id="{D842503F-36FE-F7FC-35BE-7608B33A530D}"/>
                </a:ext>
              </a:extLst>
            </p:cNvPr>
            <p:cNvGrpSpPr/>
            <p:nvPr/>
          </p:nvGrpSpPr>
          <p:grpSpPr>
            <a:xfrm>
              <a:off x="1349516" y="992893"/>
              <a:ext cx="1888788" cy="1077207"/>
              <a:chOff x="4371752" y="1905318"/>
              <a:chExt cx="1888788" cy="1077207"/>
            </a:xfrm>
          </p:grpSpPr>
          <p:sp>
            <p:nvSpPr>
              <p:cNvPr id="33" name="Rectangle 32">
                <a:extLst>
                  <a:ext uri="{FF2B5EF4-FFF2-40B4-BE49-F238E27FC236}">
                    <a16:creationId xmlns:a16="http://schemas.microsoft.com/office/drawing/2014/main" id="{56636613-2EDB-5648-512D-37C44C02FFC4}"/>
                  </a:ext>
                </a:extLst>
              </p:cNvPr>
              <p:cNvSpPr/>
              <p:nvPr/>
            </p:nvSpPr>
            <p:spPr>
              <a:xfrm>
                <a:off x="4438473" y="1966863"/>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b="1" noProof="0"/>
              </a:p>
            </p:txBody>
          </p:sp>
          <p:sp>
            <p:nvSpPr>
              <p:cNvPr id="34" name="Rectangle 33">
                <a:extLst>
                  <a:ext uri="{FF2B5EF4-FFF2-40B4-BE49-F238E27FC236}">
                    <a16:creationId xmlns:a16="http://schemas.microsoft.com/office/drawing/2014/main" id="{85136170-4864-2694-38AB-97A8D9FE9E16}"/>
                  </a:ext>
                </a:extLst>
              </p:cNvPr>
              <p:cNvSpPr/>
              <p:nvPr/>
            </p:nvSpPr>
            <p:spPr>
              <a:xfrm>
                <a:off x="4416361" y="1945931"/>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b="1" noProof="0"/>
              </a:p>
            </p:txBody>
          </p:sp>
          <p:sp>
            <p:nvSpPr>
              <p:cNvPr id="35" name="Rectangle 34">
                <a:extLst>
                  <a:ext uri="{FF2B5EF4-FFF2-40B4-BE49-F238E27FC236}">
                    <a16:creationId xmlns:a16="http://schemas.microsoft.com/office/drawing/2014/main" id="{9800E2AB-5A36-7E44-0EB1-467A1C50F92C}"/>
                  </a:ext>
                </a:extLst>
              </p:cNvPr>
              <p:cNvSpPr/>
              <p:nvPr/>
            </p:nvSpPr>
            <p:spPr>
              <a:xfrm>
                <a:off x="4394248" y="1925000"/>
                <a:ext cx="1822067" cy="1015662"/>
              </a:xfrm>
              <a:prstGeom prst="rect">
                <a:avLst/>
              </a:prstGeom>
              <a:solidFill>
                <a:schemeClr val="bg1"/>
              </a:solid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b="1" noProof="0"/>
              </a:p>
            </p:txBody>
          </p:sp>
          <p:pic>
            <p:nvPicPr>
              <p:cNvPr id="22" name="Picture 21">
                <a:extLst>
                  <a:ext uri="{FF2B5EF4-FFF2-40B4-BE49-F238E27FC236}">
                    <a16:creationId xmlns:a16="http://schemas.microsoft.com/office/drawing/2014/main" id="{91EC1EC7-CF47-8FFE-AD9E-EBE1847798C2}"/>
                  </a:ext>
                </a:extLst>
              </p:cNvPr>
              <p:cNvPicPr>
                <a:picLocks noChangeAspect="1"/>
              </p:cNvPicPr>
              <p:nvPr/>
            </p:nvPicPr>
            <p:blipFill>
              <a:blip r:embed="rId9"/>
              <a:stretch>
                <a:fillRect/>
              </a:stretch>
            </p:blipFill>
            <p:spPr>
              <a:xfrm>
                <a:off x="4371752" y="1905318"/>
                <a:ext cx="1822450" cy="1014413"/>
              </a:xfrm>
              <a:prstGeom prst="rect">
                <a:avLst/>
              </a:prstGeom>
            </p:spPr>
          </p:pic>
        </p:grpSp>
        <p:sp>
          <p:nvSpPr>
            <p:cNvPr id="38" name="TextBox 37">
              <a:extLst>
                <a:ext uri="{FF2B5EF4-FFF2-40B4-BE49-F238E27FC236}">
                  <a16:creationId xmlns:a16="http://schemas.microsoft.com/office/drawing/2014/main" id="{739C0053-8361-B105-31CD-6A2ADBAE9D42}"/>
                </a:ext>
              </a:extLst>
            </p:cNvPr>
            <p:cNvSpPr txBox="1"/>
            <p:nvPr/>
          </p:nvSpPr>
          <p:spPr>
            <a:xfrm>
              <a:off x="3364667" y="992893"/>
              <a:ext cx="3285898" cy="1384995"/>
            </a:xfrm>
            <a:prstGeom prst="rect">
              <a:avLst/>
            </a:prstGeom>
            <a:noFill/>
          </p:spPr>
          <p:txBody>
            <a:bodyPr wrap="square" rtlCol="0">
              <a:noAutofit/>
            </a:bodyPr>
            <a:lstStyle/>
            <a:p>
              <a:r>
                <a:rPr lang="da-DK" sz="1200" b="1" noProof="0">
                  <a:solidFill>
                    <a:schemeClr val="bg1"/>
                  </a:solidFill>
                  <a:hlinkClick r:id="rId10"/>
                </a:rPr>
                <a:t>3</a:t>
              </a:r>
              <a:r>
                <a:rPr lang="da-DK" sz="1200" b="1" baseline="30000" noProof="0">
                  <a:solidFill>
                    <a:schemeClr val="bg1"/>
                  </a:solidFill>
                  <a:hlinkClick r:id="rId10"/>
                </a:rPr>
                <a:t>rd</a:t>
              </a:r>
              <a:r>
                <a:rPr lang="da-DK" sz="1200" b="1" noProof="0">
                  <a:solidFill>
                    <a:schemeClr val="bg1"/>
                  </a:solidFill>
                  <a:hlinkClick r:id="rId10"/>
                </a:rPr>
                <a:t> </a:t>
              </a:r>
              <a:r>
                <a:rPr lang="da-DK" sz="1200" b="1" noProof="0" err="1">
                  <a:solidFill>
                    <a:schemeClr val="bg1"/>
                  </a:solidFill>
                  <a:hlinkClick r:id="rId10"/>
                </a:rPr>
                <a:t>quarter</a:t>
              </a:r>
              <a:r>
                <a:rPr lang="da-DK" sz="1200" b="1" noProof="0">
                  <a:solidFill>
                    <a:schemeClr val="bg1"/>
                  </a:solidFill>
                  <a:hlinkClick r:id="rId10"/>
                </a:rPr>
                <a:t> 2025 Venture </a:t>
              </a:r>
              <a:r>
                <a:rPr lang="da-DK" sz="1200" b="1" noProof="0" err="1">
                  <a:solidFill>
                    <a:schemeClr val="bg1"/>
                  </a:solidFill>
                  <a:hlinkClick r:id="rId10"/>
                </a:rPr>
                <a:t>capital</a:t>
              </a:r>
              <a:r>
                <a:rPr lang="da-DK" sz="1200" b="1" noProof="0">
                  <a:solidFill>
                    <a:schemeClr val="bg1"/>
                  </a:solidFill>
                  <a:hlinkClick r:id="rId10"/>
                </a:rPr>
                <a:t> </a:t>
              </a:r>
              <a:r>
                <a:rPr lang="da-DK" sz="1200" b="1" noProof="0" err="1">
                  <a:solidFill>
                    <a:schemeClr val="bg1"/>
                  </a:solidFill>
                  <a:hlinkClick r:id="rId10"/>
                </a:rPr>
                <a:t>market</a:t>
              </a:r>
              <a:r>
                <a:rPr lang="da-DK" sz="1200" b="1" noProof="0">
                  <a:solidFill>
                    <a:schemeClr val="bg1"/>
                  </a:solidFill>
                  <a:hlinkClick r:id="rId10"/>
                </a:rPr>
                <a:t> </a:t>
              </a:r>
              <a:r>
                <a:rPr lang="da-DK" sz="1200" b="1" noProof="0" err="1">
                  <a:solidFill>
                    <a:schemeClr val="bg1"/>
                  </a:solidFill>
                  <a:hlinkClick r:id="rId10"/>
                </a:rPr>
                <a:t>analysis</a:t>
              </a:r>
              <a:endParaRPr lang="da-DK" sz="1200" noProof="0"/>
            </a:p>
            <a:p>
              <a:r>
                <a:rPr lang="da-DK" sz="1200" noProof="0"/>
                <a:t>Status på det danske og internationale VC marked med </a:t>
              </a:r>
              <a:r>
                <a:rPr lang="da-DK" sz="1200" noProof="0" err="1"/>
                <a:t>deep</a:t>
              </a:r>
              <a:r>
                <a:rPr lang="da-DK" sz="1200" noProof="0"/>
                <a:t> </a:t>
              </a:r>
              <a:r>
                <a:rPr lang="da-DK" sz="1200" noProof="0" err="1"/>
                <a:t>dive</a:t>
              </a:r>
              <a:r>
                <a:rPr lang="da-DK" sz="1200" noProof="0"/>
                <a:t> i kvanteteknologi.</a:t>
              </a:r>
            </a:p>
            <a:p>
              <a:endParaRPr lang="da-DK" sz="1200" noProof="0"/>
            </a:p>
            <a:p>
              <a:r>
                <a:rPr lang="da-DK" sz="1200" noProof="0"/>
                <a:t>November 2025</a:t>
              </a:r>
            </a:p>
          </p:txBody>
        </p:sp>
      </p:grpSp>
      <p:sp>
        <p:nvSpPr>
          <p:cNvPr id="12" name="TextBox 11">
            <a:extLst>
              <a:ext uri="{FF2B5EF4-FFF2-40B4-BE49-F238E27FC236}">
                <a16:creationId xmlns:a16="http://schemas.microsoft.com/office/drawing/2014/main" id="{416ADB4B-3508-E2CB-E58F-680D4F0932CD}"/>
              </a:ext>
            </a:extLst>
          </p:cNvPr>
          <p:cNvSpPr txBox="1"/>
          <p:nvPr/>
        </p:nvSpPr>
        <p:spPr>
          <a:xfrm>
            <a:off x="314690" y="384419"/>
            <a:ext cx="1835759" cy="276999"/>
          </a:xfrm>
          <a:prstGeom prst="rect">
            <a:avLst/>
          </a:prstGeom>
          <a:noFill/>
        </p:spPr>
        <p:txBody>
          <a:bodyPr wrap="none" rtlCol="0">
            <a:spAutoFit/>
          </a:bodyPr>
          <a:lstStyle/>
          <a:p>
            <a:r>
              <a:rPr lang="da-DK" sz="1200" i="1" noProof="0"/>
              <a:t>Andre tidligere analyser</a:t>
            </a:r>
          </a:p>
        </p:txBody>
      </p:sp>
    </p:spTree>
    <p:extLst>
      <p:ext uri="{BB962C8B-B14F-4D97-AF65-F5344CB8AC3E}">
        <p14:creationId xmlns:p14="http://schemas.microsoft.com/office/powerpoint/2010/main" val="121038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0467454-2CC3-8E48-91FA-1424C605A69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5021CC6-9E5D-24EA-69E7-ED4158D0EDCA}"/>
              </a:ext>
            </a:extLst>
          </p:cNvPr>
          <p:cNvGraphicFramePr>
            <a:graphicFrameLocks noChangeAspect="1"/>
          </p:cNvGraphicFramePr>
          <p:nvPr>
            <p:custDataLst>
              <p:tags r:id="rId1"/>
            </p:custDataLst>
            <p:extLst>
              <p:ext uri="{D42A27DB-BD31-4B8C-83A1-F6EECF244321}">
                <p14:modId xmlns:p14="http://schemas.microsoft.com/office/powerpoint/2010/main" val="273809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9" name="think-cell data - do not delete" hidden="1">
                        <a:extLst>
                          <a:ext uri="{FF2B5EF4-FFF2-40B4-BE49-F238E27FC236}">
                            <a16:creationId xmlns:a16="http://schemas.microsoft.com/office/drawing/2014/main" id="{35021CC6-9E5D-24EA-69E7-ED4158D0ED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EC892A-2A6D-9F91-13D2-4FB26673B126}"/>
              </a:ext>
            </a:extLst>
          </p:cNvPr>
          <p:cNvSpPr>
            <a:spLocks noGrp="1"/>
          </p:cNvSpPr>
          <p:nvPr>
            <p:ph type="title"/>
          </p:nvPr>
        </p:nvSpPr>
        <p:spPr/>
        <p:txBody>
          <a:bodyPr vert="horz"/>
          <a:lstStyle/>
          <a:p>
            <a:r>
              <a:rPr lang="da-DK" noProof="0">
                <a:solidFill>
                  <a:schemeClr val="accent5"/>
                </a:solidFill>
              </a:rPr>
              <a:t>Indhold</a:t>
            </a:r>
          </a:p>
        </p:txBody>
      </p:sp>
      <p:pic>
        <p:nvPicPr>
          <p:cNvPr id="3" name="Picture 2" descr="A close up of a plant &#10;&#10;Description automatically generated">
            <a:extLst>
              <a:ext uri="{FF2B5EF4-FFF2-40B4-BE49-F238E27FC236}">
                <a16:creationId xmlns:a16="http://schemas.microsoft.com/office/drawing/2014/main" id="{382E9ED8-E940-0497-75D9-C3FDD603F985}"/>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l="14155" t="-78" r="26586" b="78"/>
          <a:stretch>
            <a:fillRect/>
          </a:stretch>
        </p:blipFill>
        <p:spPr>
          <a:xfrm>
            <a:off x="6096000" y="0"/>
            <a:ext cx="6096000" cy="6858000"/>
          </a:xfrm>
          <a:prstGeom prst="rect">
            <a:avLst/>
          </a:prstGeom>
          <a:solidFill>
            <a:schemeClr val="accent5"/>
          </a:solidFill>
        </p:spPr>
      </p:pic>
      <p:pic>
        <p:nvPicPr>
          <p:cNvPr id="22" name="Graphic 5">
            <a:extLst>
              <a:ext uri="{FF2B5EF4-FFF2-40B4-BE49-F238E27FC236}">
                <a16:creationId xmlns:a16="http://schemas.microsoft.com/office/drawing/2014/main" id="{ECA98615-9014-ECFB-645A-3882C9561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4213" y="432000"/>
            <a:ext cx="734400" cy="378216"/>
          </a:xfrm>
          <a:prstGeom prst="rect">
            <a:avLst/>
          </a:prstGeom>
        </p:spPr>
      </p:pic>
      <p:sp>
        <p:nvSpPr>
          <p:cNvPr id="21" name="Slide Number Placeholder 20">
            <a:extLst>
              <a:ext uri="{FF2B5EF4-FFF2-40B4-BE49-F238E27FC236}">
                <a16:creationId xmlns:a16="http://schemas.microsoft.com/office/drawing/2014/main" id="{448EC067-659D-3E07-986E-457095629B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FFFFFF"/>
                </a:solidFill>
                <a:effectLst/>
                <a:uLnTx/>
                <a:uFillTx/>
                <a:latin typeface="Eifon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800" b="0" i="0" u="none" strike="noStrike" kern="1200" cap="none" spc="0" normalizeH="0" baseline="0" noProof="0">
              <a:ln>
                <a:noFill/>
              </a:ln>
              <a:solidFill>
                <a:srgbClr val="FFFFFF"/>
              </a:solidFill>
              <a:effectLst/>
              <a:uLnTx/>
              <a:uFillTx/>
              <a:latin typeface="Eifont" pitchFamily="2" charset="77"/>
              <a:ea typeface="+mn-ea"/>
              <a:cs typeface="+mn-cs"/>
            </a:endParaRPr>
          </a:p>
        </p:txBody>
      </p:sp>
      <p:grpSp>
        <p:nvGrpSpPr>
          <p:cNvPr id="25" name="Gruppe 24">
            <a:extLst>
              <a:ext uri="{FF2B5EF4-FFF2-40B4-BE49-F238E27FC236}">
                <a16:creationId xmlns:a16="http://schemas.microsoft.com/office/drawing/2014/main" id="{443022CB-5101-0556-6DC0-3B7847BDCE34}"/>
              </a:ext>
            </a:extLst>
          </p:cNvPr>
          <p:cNvGrpSpPr/>
          <p:nvPr/>
        </p:nvGrpSpPr>
        <p:grpSpPr>
          <a:xfrm>
            <a:off x="431798" y="2001264"/>
            <a:ext cx="5081921" cy="3514139"/>
            <a:chOff x="431796" y="2224584"/>
            <a:chExt cx="5081921" cy="3514139"/>
          </a:xfrm>
        </p:grpSpPr>
        <p:grpSp>
          <p:nvGrpSpPr>
            <p:cNvPr id="5" name="Group 4">
              <a:extLst>
                <a:ext uri="{FF2B5EF4-FFF2-40B4-BE49-F238E27FC236}">
                  <a16:creationId xmlns:a16="http://schemas.microsoft.com/office/drawing/2014/main" id="{BE279E33-E219-CA64-EF4D-794A73897C5B}"/>
                </a:ext>
              </a:extLst>
            </p:cNvPr>
            <p:cNvGrpSpPr/>
            <p:nvPr/>
          </p:nvGrpSpPr>
          <p:grpSpPr>
            <a:xfrm>
              <a:off x="431798" y="2224584"/>
              <a:ext cx="3381041" cy="369332"/>
              <a:chOff x="3439447" y="2021840"/>
              <a:chExt cx="2260117" cy="369332"/>
            </a:xfrm>
          </p:grpSpPr>
          <p:sp>
            <p:nvSpPr>
              <p:cNvPr id="6" name="TextBox 5">
                <a:extLst>
                  <a:ext uri="{FF2B5EF4-FFF2-40B4-BE49-F238E27FC236}">
                    <a16:creationId xmlns:a16="http://schemas.microsoft.com/office/drawing/2014/main" id="{C6DF2E01-48C9-E9B1-7DE1-7C5FBDBB440D}"/>
                  </a:ext>
                </a:extLst>
              </p:cNvPr>
              <p:cNvSpPr txBox="1"/>
              <p:nvPr/>
            </p:nvSpPr>
            <p:spPr>
              <a:xfrm>
                <a:off x="4048572" y="2021840"/>
                <a:ext cx="16509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1">
                    <a:solidFill>
                      <a:schemeClr val="accent5"/>
                    </a:solidFill>
                    <a:latin typeface="Eifont"/>
                  </a:rPr>
                  <a:t>Highlights</a:t>
                </a:r>
                <a:endParaRPr kumimoji="0" lang="da-DK" sz="1800" b="1" i="0" u="none" strike="noStrike" kern="1200" cap="none" spc="0" normalizeH="0" baseline="0" noProof="0">
                  <a:ln>
                    <a:noFill/>
                  </a:ln>
                  <a:solidFill>
                    <a:schemeClr val="accent5"/>
                  </a:solidFill>
                  <a:effectLst/>
                  <a:uLnTx/>
                  <a:uFillTx/>
                  <a:latin typeface="Eifont"/>
                  <a:ea typeface="+mn-ea"/>
                  <a:cs typeface="+mn-cs"/>
                </a:endParaRPr>
              </a:p>
            </p:txBody>
          </p:sp>
          <p:sp>
            <p:nvSpPr>
              <p:cNvPr id="7" name="TextBox 6">
                <a:extLst>
                  <a:ext uri="{FF2B5EF4-FFF2-40B4-BE49-F238E27FC236}">
                    <a16:creationId xmlns:a16="http://schemas.microsoft.com/office/drawing/2014/main" id="{D3A42CA0-242D-3429-9684-4CA9AF26D973}"/>
                  </a:ext>
                </a:extLst>
              </p:cNvPr>
              <p:cNvSpPr txBox="1"/>
              <p:nvPr/>
            </p:nvSpPr>
            <p:spPr>
              <a:xfrm>
                <a:off x="3439447" y="2021840"/>
                <a:ext cx="60912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chemeClr val="accent5"/>
                    </a:solidFill>
                    <a:effectLst/>
                    <a:uLnTx/>
                    <a:uFillTx/>
                    <a:latin typeface="Eifont"/>
                    <a:ea typeface="+mn-ea"/>
                    <a:cs typeface="+mn-cs"/>
                    <a:hlinkClick r:id="rId10" action="ppaction://hlinksldjump"/>
                  </a:rPr>
                  <a:t>[s. 3]</a:t>
                </a:r>
                <a:endParaRPr kumimoji="0" lang="da-DK" sz="1800" b="1" i="0" u="none" strike="noStrike" kern="1200" cap="none" spc="0" normalizeH="0" baseline="0" noProof="0">
                  <a:ln>
                    <a:noFill/>
                  </a:ln>
                  <a:solidFill>
                    <a:schemeClr val="accent5"/>
                  </a:solidFill>
                  <a:effectLst/>
                  <a:uLnTx/>
                  <a:uFillTx/>
                  <a:latin typeface="Eifont"/>
                  <a:ea typeface="+mn-ea"/>
                  <a:cs typeface="+mn-cs"/>
                </a:endParaRPr>
              </a:p>
            </p:txBody>
          </p:sp>
        </p:grpSp>
        <p:grpSp>
          <p:nvGrpSpPr>
            <p:cNvPr id="8" name="Group 7">
              <a:extLst>
                <a:ext uri="{FF2B5EF4-FFF2-40B4-BE49-F238E27FC236}">
                  <a16:creationId xmlns:a16="http://schemas.microsoft.com/office/drawing/2014/main" id="{E60831BB-B310-927F-972C-EDA5EFE4F1A3}"/>
                </a:ext>
              </a:extLst>
            </p:cNvPr>
            <p:cNvGrpSpPr/>
            <p:nvPr/>
          </p:nvGrpSpPr>
          <p:grpSpPr>
            <a:xfrm>
              <a:off x="431798" y="3215290"/>
              <a:ext cx="2449622" cy="369332"/>
              <a:chOff x="3441408" y="3159231"/>
              <a:chExt cx="1596114" cy="369332"/>
            </a:xfrm>
          </p:grpSpPr>
          <p:sp>
            <p:nvSpPr>
              <p:cNvPr id="9" name="TextBox 8">
                <a:extLst>
                  <a:ext uri="{FF2B5EF4-FFF2-40B4-BE49-F238E27FC236}">
                    <a16:creationId xmlns:a16="http://schemas.microsoft.com/office/drawing/2014/main" id="{4D6FE4FA-5F61-2437-C996-5B3DC253F6D7}"/>
                  </a:ext>
                </a:extLst>
              </p:cNvPr>
              <p:cNvSpPr txBox="1"/>
              <p:nvPr/>
            </p:nvSpPr>
            <p:spPr>
              <a:xfrm>
                <a:off x="4035139" y="3159231"/>
                <a:ext cx="10023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chemeClr val="accent5"/>
                    </a:solidFill>
                    <a:effectLst/>
                    <a:uLnTx/>
                    <a:uFillTx/>
                    <a:latin typeface="Eifont"/>
                    <a:ea typeface="+mn-ea"/>
                    <a:cs typeface="+mn-cs"/>
                  </a:rPr>
                  <a:t>Analyse</a:t>
                </a:r>
              </a:p>
            </p:txBody>
          </p:sp>
          <p:sp>
            <p:nvSpPr>
              <p:cNvPr id="10" name="TextBox 9">
                <a:extLst>
                  <a:ext uri="{FF2B5EF4-FFF2-40B4-BE49-F238E27FC236}">
                    <a16:creationId xmlns:a16="http://schemas.microsoft.com/office/drawing/2014/main" id="{CAF1B140-2269-FC13-2730-D33BD7105107}"/>
                  </a:ext>
                </a:extLst>
              </p:cNvPr>
              <p:cNvSpPr txBox="1"/>
              <p:nvPr/>
            </p:nvSpPr>
            <p:spPr>
              <a:xfrm>
                <a:off x="3441408" y="3159231"/>
                <a:ext cx="5937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chemeClr val="accent5"/>
                    </a:solidFill>
                    <a:effectLst/>
                    <a:uLnTx/>
                    <a:uFillTx/>
                    <a:latin typeface="Eifont"/>
                    <a:ea typeface="+mn-ea"/>
                    <a:cs typeface="+mn-cs"/>
                    <a:hlinkClick r:id="rId11" action="ppaction://hlinksldjump"/>
                  </a:rPr>
                  <a:t>[s. 4]</a:t>
                </a:r>
                <a:endParaRPr kumimoji="0" lang="da-DK" sz="1800" b="1" i="0" u="none" strike="noStrike" kern="1200" cap="none" spc="0" normalizeH="0" baseline="0" noProof="0">
                  <a:ln>
                    <a:noFill/>
                  </a:ln>
                  <a:solidFill>
                    <a:schemeClr val="accent5"/>
                  </a:solidFill>
                  <a:effectLst/>
                  <a:uLnTx/>
                  <a:uFillTx/>
                  <a:latin typeface="Eifont"/>
                  <a:ea typeface="+mn-ea"/>
                  <a:cs typeface="+mn-cs"/>
                </a:endParaRPr>
              </a:p>
            </p:txBody>
          </p:sp>
        </p:grpSp>
        <p:sp>
          <p:nvSpPr>
            <p:cNvPr id="11" name="TextBox 10">
              <a:extLst>
                <a:ext uri="{FF2B5EF4-FFF2-40B4-BE49-F238E27FC236}">
                  <a16:creationId xmlns:a16="http://schemas.microsoft.com/office/drawing/2014/main" id="{B470F34F-9FC6-EF58-5FDB-9BFDA21C5A20}"/>
                </a:ext>
              </a:extLst>
            </p:cNvPr>
            <p:cNvSpPr txBox="1"/>
            <p:nvPr/>
          </p:nvSpPr>
          <p:spPr>
            <a:xfrm>
              <a:off x="1343022" y="3584622"/>
              <a:ext cx="4170695" cy="116339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
                  <a:srgbClr val="66F58A"/>
                </a:buClr>
                <a:buSzPct val="150000"/>
                <a:buFontTx/>
                <a:buNone/>
                <a:tabLst/>
                <a:defRPr/>
              </a:pPr>
              <a:r>
                <a:rPr kumimoji="0" lang="da-DK" sz="1200" b="0" i="0" u="none" strike="noStrike" kern="1200" cap="none" spc="0" normalizeH="0" baseline="0" noProof="0">
                  <a:ln>
                    <a:noFill/>
                  </a:ln>
                  <a:solidFill>
                    <a:schemeClr val="accent5"/>
                  </a:solidFill>
                  <a:effectLst/>
                  <a:uLnTx/>
                  <a:uFillTx/>
                  <a:latin typeface="Eifont"/>
                  <a:ea typeface="+mn-ea"/>
                  <a:cs typeface="+mn-cs"/>
                </a:rPr>
                <a:t>Generelt overblik over nystiftede virksomheder</a:t>
              </a:r>
            </a:p>
            <a:p>
              <a:pPr>
                <a:lnSpc>
                  <a:spcPct val="150000"/>
                </a:lnSpc>
                <a:buClr>
                  <a:srgbClr val="66F58A"/>
                </a:buClr>
                <a:buSzPct val="150000"/>
                <a:defRPr/>
              </a:pPr>
              <a:r>
                <a:rPr lang="da-DK" sz="1200">
                  <a:solidFill>
                    <a:schemeClr val="accent5"/>
                  </a:solidFill>
                </a:rPr>
                <a:t>Brancheoverblik</a:t>
              </a:r>
            </a:p>
            <a:p>
              <a:pPr marL="0" marR="0" lvl="0" indent="0" algn="l" defTabSz="914400" rtl="0" eaLnBrk="1" fontAlgn="auto" latinLnBrk="0" hangingPunct="1">
                <a:lnSpc>
                  <a:spcPct val="150000"/>
                </a:lnSpc>
                <a:spcBef>
                  <a:spcPts val="0"/>
                </a:spcBef>
                <a:spcAft>
                  <a:spcPts val="0"/>
                </a:spcAft>
                <a:buClr>
                  <a:srgbClr val="66F58A"/>
                </a:buClr>
                <a:buSzPct val="150000"/>
                <a:buFontTx/>
                <a:buNone/>
                <a:tabLst/>
                <a:defRPr/>
              </a:pPr>
              <a:r>
                <a:rPr kumimoji="0" lang="da-DK" sz="1200" b="0" i="0" u="none" strike="noStrike" kern="1200" cap="none" spc="0" normalizeH="0" baseline="0" noProof="0">
                  <a:ln>
                    <a:noFill/>
                  </a:ln>
                  <a:solidFill>
                    <a:schemeClr val="accent5"/>
                  </a:solidFill>
                  <a:effectLst/>
                  <a:uLnTx/>
                  <a:uFillTx/>
                  <a:latin typeface="Eifont"/>
                  <a:ea typeface="+mn-ea"/>
                  <a:cs typeface="+mn-cs"/>
                </a:rPr>
                <a:t>Regional udvikling</a:t>
              </a:r>
            </a:p>
            <a:p>
              <a:pPr marL="0" marR="0" lvl="0" indent="0" algn="l" defTabSz="914400" rtl="0" eaLnBrk="1" fontAlgn="auto" latinLnBrk="0" hangingPunct="1">
                <a:lnSpc>
                  <a:spcPct val="150000"/>
                </a:lnSpc>
                <a:spcBef>
                  <a:spcPts val="0"/>
                </a:spcBef>
                <a:spcAft>
                  <a:spcPts val="0"/>
                </a:spcAft>
                <a:buClr>
                  <a:srgbClr val="66F58A"/>
                </a:buClr>
                <a:buSzPct val="150000"/>
                <a:buFontTx/>
                <a:buNone/>
                <a:tabLst/>
                <a:defRPr/>
              </a:pPr>
              <a:r>
                <a:rPr kumimoji="0" lang="da-DK" sz="1200" b="0" i="0" u="none" strike="noStrike" kern="1200" cap="none" spc="0" normalizeH="0" baseline="0" noProof="0">
                  <a:ln>
                    <a:noFill/>
                  </a:ln>
                  <a:solidFill>
                    <a:schemeClr val="accent5"/>
                  </a:solidFill>
                  <a:effectLst/>
                  <a:uLnTx/>
                  <a:uFillTx/>
                  <a:latin typeface="Eifont"/>
                  <a:ea typeface="+mn-ea"/>
                  <a:cs typeface="+mn-cs"/>
                </a:rPr>
                <a:t>Kommunal udvikling</a:t>
              </a:r>
            </a:p>
          </p:txBody>
        </p:sp>
        <p:grpSp>
          <p:nvGrpSpPr>
            <p:cNvPr id="20" name="Group 4">
              <a:extLst>
                <a:ext uri="{FF2B5EF4-FFF2-40B4-BE49-F238E27FC236}">
                  <a16:creationId xmlns:a16="http://schemas.microsoft.com/office/drawing/2014/main" id="{6BD99120-DDB0-0ECA-0266-CA0218297679}"/>
                </a:ext>
              </a:extLst>
            </p:cNvPr>
            <p:cNvGrpSpPr/>
            <p:nvPr/>
          </p:nvGrpSpPr>
          <p:grpSpPr>
            <a:xfrm>
              <a:off x="431796" y="5369391"/>
              <a:ext cx="2449624" cy="369332"/>
              <a:chOff x="3451183" y="1744840"/>
              <a:chExt cx="2449624" cy="369332"/>
            </a:xfrm>
          </p:grpSpPr>
          <p:sp>
            <p:nvSpPr>
              <p:cNvPr id="23" name="TextBox 5">
                <a:extLst>
                  <a:ext uri="{FF2B5EF4-FFF2-40B4-BE49-F238E27FC236}">
                    <a16:creationId xmlns:a16="http://schemas.microsoft.com/office/drawing/2014/main" id="{CE42A607-D642-4CBF-7B19-B30797D1CE8F}"/>
                  </a:ext>
                </a:extLst>
              </p:cNvPr>
              <p:cNvSpPr txBox="1"/>
              <p:nvPr/>
            </p:nvSpPr>
            <p:spPr>
              <a:xfrm>
                <a:off x="4362408" y="1744840"/>
                <a:ext cx="15383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chemeClr val="accent5"/>
                    </a:solidFill>
                    <a:effectLst/>
                    <a:uLnTx/>
                    <a:uFillTx/>
                    <a:latin typeface="Eifont"/>
                    <a:ea typeface="+mn-ea"/>
                    <a:cs typeface="+mn-cs"/>
                  </a:rPr>
                  <a:t>Metode</a:t>
                </a:r>
              </a:p>
            </p:txBody>
          </p:sp>
          <p:sp>
            <p:nvSpPr>
              <p:cNvPr id="24" name="TextBox 6">
                <a:extLst>
                  <a:ext uri="{FF2B5EF4-FFF2-40B4-BE49-F238E27FC236}">
                    <a16:creationId xmlns:a16="http://schemas.microsoft.com/office/drawing/2014/main" id="{22703EB8-6FB9-E125-6C48-8C8CD1DAFF6F}"/>
                  </a:ext>
                </a:extLst>
              </p:cNvPr>
              <p:cNvSpPr txBox="1"/>
              <p:nvPr/>
            </p:nvSpPr>
            <p:spPr>
              <a:xfrm>
                <a:off x="3451183" y="1744840"/>
                <a:ext cx="9112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chemeClr val="accent5"/>
                    </a:solidFill>
                    <a:effectLst/>
                    <a:uLnTx/>
                    <a:uFillTx/>
                    <a:latin typeface="Eifont"/>
                    <a:ea typeface="+mn-ea"/>
                    <a:cs typeface="+mn-cs"/>
                    <a:hlinkClick r:id="rId12" action="ppaction://hlinksldjump"/>
                  </a:rPr>
                  <a:t>[s. 12]</a:t>
                </a:r>
                <a:endParaRPr kumimoji="0" lang="da-DK" sz="1800" b="1" i="0" u="none" strike="noStrike" kern="1200" cap="none" spc="0" normalizeH="0" baseline="0" noProof="0">
                  <a:ln>
                    <a:noFill/>
                  </a:ln>
                  <a:solidFill>
                    <a:schemeClr val="accent5"/>
                  </a:solidFill>
                  <a:effectLst/>
                  <a:uLnTx/>
                  <a:uFillTx/>
                  <a:latin typeface="Eifont"/>
                  <a:ea typeface="+mn-ea"/>
                  <a:cs typeface="+mn-cs"/>
                </a:endParaRPr>
              </a:p>
            </p:txBody>
          </p:sp>
        </p:grpSp>
      </p:grpSp>
    </p:spTree>
    <p:extLst>
      <p:ext uri="{BB962C8B-B14F-4D97-AF65-F5344CB8AC3E}">
        <p14:creationId xmlns:p14="http://schemas.microsoft.com/office/powerpoint/2010/main" val="427384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bg>
      <p:bgPr>
        <a:solidFill>
          <a:schemeClr val="accent2"/>
        </a:solidFill>
        <a:effectLst/>
      </p:bgPr>
    </p:bg>
    <p:spTree>
      <p:nvGrpSpPr>
        <p:cNvPr id="1" name="">
          <a:extLst>
            <a:ext uri="{FF2B5EF4-FFF2-40B4-BE49-F238E27FC236}">
              <a16:creationId xmlns:a16="http://schemas.microsoft.com/office/drawing/2014/main" id="{BEE0919C-1B8F-D5D2-53F2-37917485FE8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38C5B2C-C5B6-F6C7-50D0-46B6533809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9" imgH="350" progId="TCLayout.ActiveDocument.1">
                  <p:embed/>
                </p:oleObj>
              </mc:Choice>
              <mc:Fallback>
                <p:oleObj name="think-cell Slide" r:id="rId5" imgW="349" imgH="350" progId="TCLayout.ActiveDocument.1">
                  <p:embed/>
                  <p:pic>
                    <p:nvPicPr>
                      <p:cNvPr id="10" name="think-cell data - do not delete" hidden="1">
                        <a:extLst>
                          <a:ext uri="{FF2B5EF4-FFF2-40B4-BE49-F238E27FC236}">
                            <a16:creationId xmlns:a16="http://schemas.microsoft.com/office/drawing/2014/main" id="{438C5B2C-C5B6-F6C7-50D0-46B6533809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1" name="Gerade Verbindung 22">
            <a:extLst>
              <a:ext uri="{FF2B5EF4-FFF2-40B4-BE49-F238E27FC236}">
                <a16:creationId xmlns:a16="http://schemas.microsoft.com/office/drawing/2014/main" id="{994E518F-D670-22A9-A534-073596A60901}"/>
              </a:ext>
            </a:extLst>
          </p:cNvPr>
          <p:cNvCxnSpPr>
            <a:cxnSpLocks/>
          </p:cNvCxnSpPr>
          <p:nvPr/>
        </p:nvCxnSpPr>
        <p:spPr bwMode="gray">
          <a:xfrm>
            <a:off x="431798" y="4451487"/>
            <a:ext cx="398117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 Verbindung 22">
            <a:extLst>
              <a:ext uri="{FF2B5EF4-FFF2-40B4-BE49-F238E27FC236}">
                <a16:creationId xmlns:a16="http://schemas.microsoft.com/office/drawing/2014/main" id="{044B8A92-04FE-77EF-20EF-FF8CC01CFEA5}"/>
              </a:ext>
            </a:extLst>
          </p:cNvPr>
          <p:cNvCxnSpPr>
            <a:cxnSpLocks/>
          </p:cNvCxnSpPr>
          <p:nvPr/>
        </p:nvCxnSpPr>
        <p:spPr bwMode="gray">
          <a:xfrm>
            <a:off x="419100" y="2060039"/>
            <a:ext cx="4464311"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Textplatzhalter 13">
            <a:extLst>
              <a:ext uri="{FF2B5EF4-FFF2-40B4-BE49-F238E27FC236}">
                <a16:creationId xmlns:a16="http://schemas.microsoft.com/office/drawing/2014/main" id="{70F7786E-EF7E-B32D-A2EF-A6405A285711}"/>
              </a:ext>
            </a:extLst>
          </p:cNvPr>
          <p:cNvSpPr txBox="1">
            <a:spLocks/>
          </p:cNvSpPr>
          <p:nvPr/>
        </p:nvSpPr>
        <p:spPr bwMode="gray">
          <a:xfrm>
            <a:off x="419100" y="1636180"/>
            <a:ext cx="4464311" cy="423859"/>
          </a:xfrm>
          <a:prstGeom prst="rect">
            <a:avLst/>
          </a:prstGeom>
        </p:spPr>
        <p:txBody>
          <a:bodyPr vert="horz" wrap="square" lIns="0" tIns="0" rIns="0" bIns="54000" rtlCol="0" anchor="b">
            <a:sp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a-DK" sz="1200" b="1" i="0" u="none" strike="noStrike" kern="1200" cap="none" spc="0" normalizeH="0" baseline="0" noProof="0">
                <a:ln>
                  <a:noFill/>
                </a:ln>
                <a:solidFill>
                  <a:srgbClr val="234432"/>
                </a:solidFill>
                <a:effectLst/>
                <a:uLnTx/>
                <a:uFillTx/>
                <a:latin typeface="Eifont Display"/>
                <a:ea typeface="Verdana" pitchFamily="34" charset="0"/>
              </a:rPr>
              <a:t>I 2025 blev der stiftet 37.668 </a:t>
            </a:r>
            <a:r>
              <a:rPr kumimoji="0" lang="da-DK" sz="1200" b="0" i="0" u="none" strike="noStrike" kern="1200" cap="none" spc="0" normalizeH="0" baseline="0" noProof="0">
                <a:ln>
                  <a:noFill/>
                </a:ln>
                <a:solidFill>
                  <a:srgbClr val="234432"/>
                </a:solidFill>
                <a:effectLst/>
                <a:uLnTx/>
                <a:uFillTx/>
                <a:latin typeface="Eifont Display"/>
                <a:ea typeface="Verdana" pitchFamily="34" charset="0"/>
              </a:rPr>
              <a:t>nye</a:t>
            </a:r>
            <a:r>
              <a:rPr kumimoji="0" lang="da-DK" sz="1200" b="1" i="0" u="none" strike="noStrike" kern="1200" cap="none" spc="0" normalizeH="0" baseline="0" noProof="0">
                <a:ln>
                  <a:noFill/>
                </a:ln>
                <a:solidFill>
                  <a:srgbClr val="234432"/>
                </a:solidFill>
                <a:effectLst/>
                <a:uLnTx/>
                <a:uFillTx/>
                <a:latin typeface="Eifont Display"/>
                <a:ea typeface="Verdana" pitchFamily="34" charset="0"/>
              </a:rPr>
              <a:t> virksomheder – en stigning fra niveauet i 2023-2024</a:t>
            </a:r>
          </a:p>
        </p:txBody>
      </p:sp>
      <p:cxnSp>
        <p:nvCxnSpPr>
          <p:cNvPr id="24" name="Gerade Verbindung 22">
            <a:extLst>
              <a:ext uri="{FF2B5EF4-FFF2-40B4-BE49-F238E27FC236}">
                <a16:creationId xmlns:a16="http://schemas.microsoft.com/office/drawing/2014/main" id="{8E0F85B3-9ABD-D0D8-A750-1E92F8B8E72F}"/>
              </a:ext>
            </a:extLst>
          </p:cNvPr>
          <p:cNvCxnSpPr>
            <a:cxnSpLocks/>
          </p:cNvCxnSpPr>
          <p:nvPr/>
        </p:nvCxnSpPr>
        <p:spPr bwMode="gray">
          <a:xfrm>
            <a:off x="7341979" y="2060039"/>
            <a:ext cx="4416634"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 Verbindung 22">
            <a:extLst>
              <a:ext uri="{FF2B5EF4-FFF2-40B4-BE49-F238E27FC236}">
                <a16:creationId xmlns:a16="http://schemas.microsoft.com/office/drawing/2014/main" id="{C686B2BC-FCE6-D469-CD9C-16784E0585BD}"/>
              </a:ext>
            </a:extLst>
          </p:cNvPr>
          <p:cNvCxnSpPr>
            <a:cxnSpLocks/>
          </p:cNvCxnSpPr>
          <p:nvPr/>
        </p:nvCxnSpPr>
        <p:spPr bwMode="gray">
          <a:xfrm>
            <a:off x="7739014" y="4451487"/>
            <a:ext cx="4032297"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platzhalter 13">
            <a:extLst>
              <a:ext uri="{FF2B5EF4-FFF2-40B4-BE49-F238E27FC236}">
                <a16:creationId xmlns:a16="http://schemas.microsoft.com/office/drawing/2014/main" id="{A43002C6-2F10-B1AB-F2E1-62953EABF533}"/>
              </a:ext>
            </a:extLst>
          </p:cNvPr>
          <p:cNvSpPr txBox="1">
            <a:spLocks/>
          </p:cNvSpPr>
          <p:nvPr/>
        </p:nvSpPr>
        <p:spPr bwMode="gray">
          <a:xfrm>
            <a:off x="431799" y="4027629"/>
            <a:ext cx="3981175" cy="423858"/>
          </a:xfrm>
          <a:prstGeom prst="rect">
            <a:avLst/>
          </a:prstGeom>
        </p:spPr>
        <p:txBody>
          <a:bodyPr vert="horz" wrap="square" lIns="0" tIns="0" rIns="0" bIns="54000" rtlCol="0" anchor="b">
            <a:no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a-DK" sz="1200" b="1" i="0" u="none" strike="noStrike" kern="1200" cap="none" spc="0" normalizeH="0" baseline="0" noProof="0">
                <a:ln>
                  <a:noFill/>
                </a:ln>
                <a:solidFill>
                  <a:srgbClr val="234432"/>
                </a:solidFill>
                <a:effectLst/>
                <a:uLnTx/>
                <a:uFillTx/>
                <a:latin typeface="Eifont Display"/>
                <a:ea typeface="Verdana" pitchFamily="34" charset="0"/>
              </a:rPr>
              <a:t>Fremgang i antal nystiftede virksomheder på tværs af alle regioner</a:t>
            </a:r>
          </a:p>
        </p:txBody>
      </p:sp>
      <p:sp>
        <p:nvSpPr>
          <p:cNvPr id="27" name="Textplatzhalter 13">
            <a:extLst>
              <a:ext uri="{FF2B5EF4-FFF2-40B4-BE49-F238E27FC236}">
                <a16:creationId xmlns:a16="http://schemas.microsoft.com/office/drawing/2014/main" id="{A5EF4469-4AA1-2860-47E4-227424E3FE40}"/>
              </a:ext>
            </a:extLst>
          </p:cNvPr>
          <p:cNvSpPr txBox="1">
            <a:spLocks/>
          </p:cNvSpPr>
          <p:nvPr/>
        </p:nvSpPr>
        <p:spPr bwMode="gray">
          <a:xfrm>
            <a:off x="7341979" y="1636180"/>
            <a:ext cx="4440981" cy="423859"/>
          </a:xfrm>
          <a:prstGeom prst="rect">
            <a:avLst/>
          </a:prstGeom>
        </p:spPr>
        <p:txBody>
          <a:bodyPr vert="horz" wrap="square" lIns="0" tIns="0" rIns="0" bIns="54000" rtlCol="0" anchor="b">
            <a:spAutoFit/>
          </a:bodyPr>
          <a:lstStyle>
            <a:defPPr>
              <a:defRPr lang="en-US"/>
            </a:defPPr>
            <a:lvl1pPr lvl="0" indent="0">
              <a:lnSpc>
                <a:spcPct val="100000"/>
              </a:lnSpc>
              <a:spcBef>
                <a:spcPts val="0"/>
              </a:spcBef>
              <a:buFont typeface="Arial" pitchFamily="34" charset="0"/>
              <a:buNone/>
              <a:defRPr sz="1200" b="1" cap="none">
                <a:solidFill>
                  <a:srgbClr val="FFFFFF"/>
                </a:solidFill>
                <a:latin typeface="Eifont Display"/>
                <a:ea typeface="Verdana" pitchFamily="34" charset="0"/>
                <a:cs typeface="Verdana" pitchFamily="34" charset="0"/>
              </a:defRPr>
            </a:lvl1pPr>
            <a:lvl2pPr marL="180975" indent="-180975">
              <a:lnSpc>
                <a:spcPct val="95000"/>
              </a:lnSpc>
              <a:spcBef>
                <a:spcPts val="400"/>
              </a:spcBef>
              <a:buFont typeface="Wingdings" pitchFamily="2" charset="2"/>
              <a:buChar char="§"/>
              <a:defRPr sz="1300">
                <a:ea typeface="Verdana" pitchFamily="34" charset="0"/>
                <a:cs typeface="Verdana" pitchFamily="34" charset="0"/>
              </a:defRPr>
            </a:lvl2pPr>
            <a:lvl3pPr marL="361950" indent="-180975">
              <a:lnSpc>
                <a:spcPct val="95000"/>
              </a:lnSpc>
              <a:spcBef>
                <a:spcPts val="400"/>
              </a:spcBef>
              <a:buFont typeface="Arial" pitchFamily="34" charset="0"/>
              <a:buChar char="̵"/>
              <a:defRPr sz="1300">
                <a:ea typeface="Verdana" pitchFamily="34" charset="0"/>
                <a:cs typeface="Verdana" pitchFamily="34" charset="0"/>
              </a:defRPr>
            </a:lvl3pPr>
            <a:lvl4pPr marL="534988" indent="-173038">
              <a:lnSpc>
                <a:spcPct val="95000"/>
              </a:lnSpc>
              <a:spcBef>
                <a:spcPts val="400"/>
              </a:spcBef>
              <a:buFont typeface="Arial" pitchFamily="34" charset="0"/>
              <a:buChar char="̵"/>
              <a:defRPr sz="1300">
                <a:ea typeface="Verdana" pitchFamily="34" charset="0"/>
                <a:cs typeface="Verdana" pitchFamily="34" charset="0"/>
              </a:defRPr>
            </a:lvl4pPr>
            <a:lvl5pPr marL="715963" indent="-180975">
              <a:lnSpc>
                <a:spcPct val="95000"/>
              </a:lnSpc>
              <a:spcBef>
                <a:spcPts val="400"/>
              </a:spcBef>
              <a:buFont typeface="Arial" pitchFamily="34" charset="0"/>
              <a:buChar char="̵"/>
              <a:defRPr sz="1300">
                <a:ea typeface="Verdana" pitchFamily="34" charset="0"/>
                <a:cs typeface="Verdana"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a-DK" sz="1200" b="1" i="0" u="none" strike="noStrike" kern="1200" cap="none" spc="0" normalizeH="0" baseline="0" noProof="0">
                <a:ln>
                  <a:noFill/>
                </a:ln>
                <a:solidFill>
                  <a:srgbClr val="234432"/>
                </a:solidFill>
                <a:effectLst/>
                <a:uLnTx/>
                <a:uFillTx/>
                <a:latin typeface="Eifont Display"/>
                <a:ea typeface="Verdana" pitchFamily="34" charset="0"/>
              </a:rPr>
              <a:t>Flest nystiftede virksomheder i branchen, rådgivning og forretningsservice </a:t>
            </a:r>
          </a:p>
        </p:txBody>
      </p:sp>
      <p:sp>
        <p:nvSpPr>
          <p:cNvPr id="28" name="Textplatzhalter 13">
            <a:extLst>
              <a:ext uri="{FF2B5EF4-FFF2-40B4-BE49-F238E27FC236}">
                <a16:creationId xmlns:a16="http://schemas.microsoft.com/office/drawing/2014/main" id="{40F18E5F-EE22-CB0A-1179-F259CC0548CC}"/>
              </a:ext>
            </a:extLst>
          </p:cNvPr>
          <p:cNvSpPr txBox="1">
            <a:spLocks/>
          </p:cNvSpPr>
          <p:nvPr/>
        </p:nvSpPr>
        <p:spPr bwMode="gray">
          <a:xfrm>
            <a:off x="7739014" y="4082155"/>
            <a:ext cx="4080629" cy="369332"/>
          </a:xfrm>
          <a:prstGeom prst="rect">
            <a:avLst/>
          </a:prstGeom>
        </p:spPr>
        <p:txBody>
          <a:bodyPr vert="horz" wrap="square" lIns="0" tIns="0" rIns="0" bIns="54000" rtlCol="0" anchor="b">
            <a:noAutofit/>
          </a:bodyPr>
          <a:lstStyle>
            <a:defPPr>
              <a:defRPr lang="en-US"/>
            </a:defPPr>
            <a:lvl1pPr lvl="0" indent="0" algn="r">
              <a:lnSpc>
                <a:spcPct val="100000"/>
              </a:lnSpc>
              <a:spcBef>
                <a:spcPts val="0"/>
              </a:spcBef>
              <a:buFont typeface="Arial" pitchFamily="34" charset="0"/>
              <a:buNone/>
              <a:defRPr sz="1200" b="1" cap="none">
                <a:solidFill>
                  <a:srgbClr val="FFFFFF"/>
                </a:solidFill>
                <a:latin typeface="Eifont Display"/>
                <a:ea typeface="Verdana" pitchFamily="34" charset="0"/>
                <a:cs typeface="Verdana" pitchFamily="34" charset="0"/>
              </a:defRPr>
            </a:lvl1pPr>
            <a:lvl2pPr marL="180975" indent="-180975">
              <a:lnSpc>
                <a:spcPct val="95000"/>
              </a:lnSpc>
              <a:spcBef>
                <a:spcPts val="400"/>
              </a:spcBef>
              <a:buFont typeface="Wingdings" pitchFamily="2" charset="2"/>
              <a:buChar char="§"/>
              <a:defRPr sz="1300">
                <a:ea typeface="Verdana" pitchFamily="34" charset="0"/>
                <a:cs typeface="Verdana" pitchFamily="34" charset="0"/>
              </a:defRPr>
            </a:lvl2pPr>
            <a:lvl3pPr marL="361950" indent="-180975">
              <a:lnSpc>
                <a:spcPct val="95000"/>
              </a:lnSpc>
              <a:spcBef>
                <a:spcPts val="400"/>
              </a:spcBef>
              <a:buFont typeface="Arial" pitchFamily="34" charset="0"/>
              <a:buChar char="̵"/>
              <a:defRPr sz="1300">
                <a:ea typeface="Verdana" pitchFamily="34" charset="0"/>
                <a:cs typeface="Verdana" pitchFamily="34" charset="0"/>
              </a:defRPr>
            </a:lvl3pPr>
            <a:lvl4pPr marL="534988" indent="-173038">
              <a:lnSpc>
                <a:spcPct val="95000"/>
              </a:lnSpc>
              <a:spcBef>
                <a:spcPts val="400"/>
              </a:spcBef>
              <a:buFont typeface="Arial" pitchFamily="34" charset="0"/>
              <a:buChar char="̵"/>
              <a:defRPr sz="1300">
                <a:ea typeface="Verdana" pitchFamily="34" charset="0"/>
                <a:cs typeface="Verdana" pitchFamily="34" charset="0"/>
              </a:defRPr>
            </a:lvl4pPr>
            <a:lvl5pPr marL="715963" indent="-180975">
              <a:lnSpc>
                <a:spcPct val="95000"/>
              </a:lnSpc>
              <a:spcBef>
                <a:spcPts val="400"/>
              </a:spcBef>
              <a:buFont typeface="Arial" pitchFamily="34" charset="0"/>
              <a:buChar char="̵"/>
              <a:defRPr sz="1300">
                <a:ea typeface="Verdana" pitchFamily="34" charset="0"/>
                <a:cs typeface="Verdana"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a-DK" sz="1200" b="1" i="0" u="none" strike="noStrike" kern="1200" cap="none" spc="0" normalizeH="0" baseline="0" noProof="0">
                <a:ln>
                  <a:noFill/>
                </a:ln>
                <a:solidFill>
                  <a:srgbClr val="234432"/>
                </a:solidFill>
                <a:effectLst/>
                <a:uLnTx/>
                <a:uFillTx/>
                <a:latin typeface="Eifont Display"/>
                <a:ea typeface="Verdana" pitchFamily="34" charset="0"/>
              </a:rPr>
              <a:t>Forskelle i brancheprofiler på tværs af kommunetyper</a:t>
            </a:r>
          </a:p>
        </p:txBody>
      </p:sp>
      <p:grpSp>
        <p:nvGrpSpPr>
          <p:cNvPr id="29" name="Gruppieren 50">
            <a:extLst>
              <a:ext uri="{FF2B5EF4-FFF2-40B4-BE49-F238E27FC236}">
                <a16:creationId xmlns:a16="http://schemas.microsoft.com/office/drawing/2014/main" id="{1B6AB4E7-1064-41E4-9643-5AC6928876D8}"/>
              </a:ext>
            </a:extLst>
          </p:cNvPr>
          <p:cNvGrpSpPr>
            <a:grpSpLocks/>
          </p:cNvGrpSpPr>
          <p:nvPr/>
        </p:nvGrpSpPr>
        <p:grpSpPr bwMode="gray">
          <a:xfrm>
            <a:off x="4459526" y="2060039"/>
            <a:ext cx="3272948" cy="3279938"/>
            <a:chOff x="4440861" y="1798790"/>
            <a:chExt cx="3506593" cy="3514082"/>
          </a:xfrm>
          <a:solidFill>
            <a:schemeClr val="bg1"/>
          </a:solidFill>
        </p:grpSpPr>
        <p:sp>
          <p:nvSpPr>
            <p:cNvPr id="30" name="Rechteck 26">
              <a:extLst>
                <a:ext uri="{FF2B5EF4-FFF2-40B4-BE49-F238E27FC236}">
                  <a16:creationId xmlns:a16="http://schemas.microsoft.com/office/drawing/2014/main" id="{8C593F53-95D3-0D83-A351-0014C6E325DB}"/>
                </a:ext>
              </a:extLst>
            </p:cNvPr>
            <p:cNvSpPr>
              <a:spLocks/>
            </p:cNvSpPr>
            <p:nvPr/>
          </p:nvSpPr>
          <p:spPr bwMode="gray">
            <a:xfrm rot="8100000">
              <a:off x="4811141" y="1798790"/>
              <a:ext cx="1224425" cy="1964986"/>
            </a:xfrm>
            <a:custGeom>
              <a:avLst/>
              <a:gdLst/>
              <a:ahLst/>
              <a:cxnLst/>
              <a:rect l="l" t="t" r="r" b="b"/>
              <a:pathLst>
                <a:path w="1764552" h="2831796">
                  <a:moveTo>
                    <a:pt x="885293" y="0"/>
                  </a:moveTo>
                  <a:lnTo>
                    <a:pt x="1686476" y="796105"/>
                  </a:lnTo>
                  <a:cubicBezTo>
                    <a:pt x="1692106" y="799393"/>
                    <a:pt x="1696899" y="803770"/>
                    <a:pt x="1701532" y="808403"/>
                  </a:cubicBezTo>
                  <a:cubicBezTo>
                    <a:pt x="1743027" y="849897"/>
                    <a:pt x="1763970" y="904161"/>
                    <a:pt x="1764219" y="958546"/>
                  </a:cubicBezTo>
                  <a:lnTo>
                    <a:pt x="1764552" y="958546"/>
                  </a:lnTo>
                  <a:lnTo>
                    <a:pt x="1764552" y="2831796"/>
                  </a:lnTo>
                  <a:lnTo>
                    <a:pt x="602502" y="2831796"/>
                  </a:lnTo>
                  <a:lnTo>
                    <a:pt x="443753" y="2831796"/>
                  </a:lnTo>
                  <a:lnTo>
                    <a:pt x="4015" y="2831796"/>
                  </a:lnTo>
                  <a:lnTo>
                    <a:pt x="4015" y="1013159"/>
                  </a:lnTo>
                  <a:cubicBezTo>
                    <a:pt x="-9252" y="945448"/>
                    <a:pt x="10361" y="872584"/>
                    <a:pt x="62818" y="820127"/>
                  </a:cubicBezTo>
                  <a:lnTo>
                    <a:pt x="64578" y="818690"/>
                  </a:lnTo>
                  <a:lnTo>
                    <a:pt x="61380" y="818689"/>
                  </a:lnTo>
                  <a:close/>
                </a:path>
              </a:pathLst>
            </a:custGeom>
            <a:grpFill/>
            <a:ln w="6350" cap="flat" cmpd="sng" algn="ctr">
              <a:no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rgbClr val="234432"/>
                </a:solidFill>
                <a:effectLst/>
                <a:uLnTx/>
                <a:uFillTx/>
                <a:latin typeface="Eifont"/>
                <a:ea typeface="+mn-ea"/>
                <a:cs typeface="+mn-cs"/>
              </a:endParaRPr>
            </a:p>
          </p:txBody>
        </p:sp>
        <p:sp>
          <p:nvSpPr>
            <p:cNvPr id="31" name="Rechteck 26">
              <a:extLst>
                <a:ext uri="{FF2B5EF4-FFF2-40B4-BE49-F238E27FC236}">
                  <a16:creationId xmlns:a16="http://schemas.microsoft.com/office/drawing/2014/main" id="{97643826-5916-B504-E181-6F6ED544ACDD}"/>
                </a:ext>
              </a:extLst>
            </p:cNvPr>
            <p:cNvSpPr>
              <a:spLocks/>
            </p:cNvSpPr>
            <p:nvPr/>
          </p:nvSpPr>
          <p:spPr bwMode="gray">
            <a:xfrm rot="13500000" flipH="1">
              <a:off x="6352748" y="1798790"/>
              <a:ext cx="1224425" cy="1964986"/>
            </a:xfrm>
            <a:custGeom>
              <a:avLst/>
              <a:gdLst/>
              <a:ahLst/>
              <a:cxnLst/>
              <a:rect l="l" t="t" r="r" b="b"/>
              <a:pathLst>
                <a:path w="1764552" h="2831796">
                  <a:moveTo>
                    <a:pt x="885293" y="0"/>
                  </a:moveTo>
                  <a:lnTo>
                    <a:pt x="1686476" y="796105"/>
                  </a:lnTo>
                  <a:cubicBezTo>
                    <a:pt x="1692106" y="799393"/>
                    <a:pt x="1696899" y="803770"/>
                    <a:pt x="1701532" y="808403"/>
                  </a:cubicBezTo>
                  <a:cubicBezTo>
                    <a:pt x="1743027" y="849897"/>
                    <a:pt x="1763970" y="904161"/>
                    <a:pt x="1764219" y="958546"/>
                  </a:cubicBezTo>
                  <a:lnTo>
                    <a:pt x="1764552" y="958546"/>
                  </a:lnTo>
                  <a:lnTo>
                    <a:pt x="1764552" y="2831796"/>
                  </a:lnTo>
                  <a:lnTo>
                    <a:pt x="602502" y="2831796"/>
                  </a:lnTo>
                  <a:lnTo>
                    <a:pt x="443753" y="2831796"/>
                  </a:lnTo>
                  <a:lnTo>
                    <a:pt x="4015" y="2831796"/>
                  </a:lnTo>
                  <a:lnTo>
                    <a:pt x="4015" y="1013159"/>
                  </a:lnTo>
                  <a:cubicBezTo>
                    <a:pt x="-9252" y="945448"/>
                    <a:pt x="10361" y="872584"/>
                    <a:pt x="62818" y="820127"/>
                  </a:cubicBezTo>
                  <a:lnTo>
                    <a:pt x="64578" y="818690"/>
                  </a:lnTo>
                  <a:lnTo>
                    <a:pt x="61380" y="818689"/>
                  </a:lnTo>
                  <a:close/>
                </a:path>
              </a:pathLst>
            </a:custGeom>
            <a:grpFill/>
            <a:ln w="6350" cap="flat" cmpd="sng" algn="ctr">
              <a:no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rgbClr val="234432"/>
                </a:solidFill>
                <a:effectLst/>
                <a:uLnTx/>
                <a:uFillTx/>
                <a:latin typeface="Eifont"/>
                <a:ea typeface="+mn-ea"/>
                <a:cs typeface="+mn-cs"/>
              </a:endParaRPr>
            </a:p>
          </p:txBody>
        </p:sp>
        <p:sp>
          <p:nvSpPr>
            <p:cNvPr id="32" name="Rechteck 26">
              <a:extLst>
                <a:ext uri="{FF2B5EF4-FFF2-40B4-BE49-F238E27FC236}">
                  <a16:creationId xmlns:a16="http://schemas.microsoft.com/office/drawing/2014/main" id="{3031FCE9-FD59-DEBC-74B9-309AAB72D064}"/>
                </a:ext>
              </a:extLst>
            </p:cNvPr>
            <p:cNvSpPr>
              <a:spLocks/>
            </p:cNvSpPr>
            <p:nvPr/>
          </p:nvSpPr>
          <p:spPr bwMode="gray">
            <a:xfrm rot="13500000" flipV="1">
              <a:off x="4811141" y="3347886"/>
              <a:ext cx="1224425" cy="1964986"/>
            </a:xfrm>
            <a:custGeom>
              <a:avLst/>
              <a:gdLst/>
              <a:ahLst/>
              <a:cxnLst/>
              <a:rect l="l" t="t" r="r" b="b"/>
              <a:pathLst>
                <a:path w="1764552" h="2831796">
                  <a:moveTo>
                    <a:pt x="885293" y="0"/>
                  </a:moveTo>
                  <a:lnTo>
                    <a:pt x="1686476" y="796105"/>
                  </a:lnTo>
                  <a:cubicBezTo>
                    <a:pt x="1692106" y="799393"/>
                    <a:pt x="1696899" y="803770"/>
                    <a:pt x="1701532" y="808403"/>
                  </a:cubicBezTo>
                  <a:cubicBezTo>
                    <a:pt x="1743027" y="849897"/>
                    <a:pt x="1763970" y="904161"/>
                    <a:pt x="1764219" y="958546"/>
                  </a:cubicBezTo>
                  <a:lnTo>
                    <a:pt x="1764552" y="958546"/>
                  </a:lnTo>
                  <a:lnTo>
                    <a:pt x="1764552" y="2831796"/>
                  </a:lnTo>
                  <a:lnTo>
                    <a:pt x="602502" y="2831796"/>
                  </a:lnTo>
                  <a:lnTo>
                    <a:pt x="443753" y="2831796"/>
                  </a:lnTo>
                  <a:lnTo>
                    <a:pt x="4015" y="2831796"/>
                  </a:lnTo>
                  <a:lnTo>
                    <a:pt x="4015" y="1013159"/>
                  </a:lnTo>
                  <a:cubicBezTo>
                    <a:pt x="-9252" y="945448"/>
                    <a:pt x="10361" y="872584"/>
                    <a:pt x="62818" y="820127"/>
                  </a:cubicBezTo>
                  <a:lnTo>
                    <a:pt x="64578" y="818690"/>
                  </a:lnTo>
                  <a:lnTo>
                    <a:pt x="61380" y="818689"/>
                  </a:lnTo>
                  <a:close/>
                </a:path>
              </a:pathLst>
            </a:custGeom>
            <a:grpFill/>
            <a:ln w="6350" cap="flat" cmpd="sng" algn="ctr">
              <a:no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rgbClr val="234432"/>
                </a:solidFill>
                <a:effectLst/>
                <a:uLnTx/>
                <a:uFillTx/>
                <a:latin typeface="Eifont"/>
                <a:ea typeface="+mn-ea"/>
                <a:cs typeface="+mn-cs"/>
              </a:endParaRPr>
            </a:p>
          </p:txBody>
        </p:sp>
        <p:sp>
          <p:nvSpPr>
            <p:cNvPr id="33" name="Rechteck 26">
              <a:extLst>
                <a:ext uri="{FF2B5EF4-FFF2-40B4-BE49-F238E27FC236}">
                  <a16:creationId xmlns:a16="http://schemas.microsoft.com/office/drawing/2014/main" id="{C016C7EB-D5B0-8CF6-ED92-3E56C91DB280}"/>
                </a:ext>
              </a:extLst>
            </p:cNvPr>
            <p:cNvSpPr>
              <a:spLocks/>
            </p:cNvSpPr>
            <p:nvPr/>
          </p:nvSpPr>
          <p:spPr bwMode="gray">
            <a:xfrm rot="8100000" flipH="1" flipV="1">
              <a:off x="6352748" y="3347886"/>
              <a:ext cx="1224425" cy="1964986"/>
            </a:xfrm>
            <a:custGeom>
              <a:avLst/>
              <a:gdLst/>
              <a:ahLst/>
              <a:cxnLst/>
              <a:rect l="l" t="t" r="r" b="b"/>
              <a:pathLst>
                <a:path w="1764552" h="2831796">
                  <a:moveTo>
                    <a:pt x="885293" y="0"/>
                  </a:moveTo>
                  <a:lnTo>
                    <a:pt x="1686476" y="796105"/>
                  </a:lnTo>
                  <a:cubicBezTo>
                    <a:pt x="1692106" y="799393"/>
                    <a:pt x="1696899" y="803770"/>
                    <a:pt x="1701532" y="808403"/>
                  </a:cubicBezTo>
                  <a:cubicBezTo>
                    <a:pt x="1743027" y="849897"/>
                    <a:pt x="1763970" y="904161"/>
                    <a:pt x="1764219" y="958546"/>
                  </a:cubicBezTo>
                  <a:lnTo>
                    <a:pt x="1764552" y="958546"/>
                  </a:lnTo>
                  <a:lnTo>
                    <a:pt x="1764552" y="2831796"/>
                  </a:lnTo>
                  <a:lnTo>
                    <a:pt x="602502" y="2831796"/>
                  </a:lnTo>
                  <a:lnTo>
                    <a:pt x="443753" y="2831796"/>
                  </a:lnTo>
                  <a:lnTo>
                    <a:pt x="4015" y="2831796"/>
                  </a:lnTo>
                  <a:lnTo>
                    <a:pt x="4015" y="1013159"/>
                  </a:lnTo>
                  <a:cubicBezTo>
                    <a:pt x="-9252" y="945448"/>
                    <a:pt x="10361" y="872584"/>
                    <a:pt x="62818" y="820127"/>
                  </a:cubicBezTo>
                  <a:lnTo>
                    <a:pt x="64578" y="818690"/>
                  </a:lnTo>
                  <a:lnTo>
                    <a:pt x="61380" y="818689"/>
                  </a:lnTo>
                  <a:close/>
                </a:path>
              </a:pathLst>
            </a:custGeom>
            <a:grpFill/>
            <a:ln w="6350" cap="flat" cmpd="sng" algn="ctr">
              <a:no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rgbClr val="234432"/>
                </a:solidFill>
                <a:effectLst/>
                <a:uLnTx/>
                <a:uFillTx/>
                <a:latin typeface="Eifont"/>
                <a:ea typeface="+mn-ea"/>
                <a:cs typeface="+mn-cs"/>
              </a:endParaRPr>
            </a:p>
          </p:txBody>
        </p:sp>
      </p:grpSp>
      <p:sp>
        <p:nvSpPr>
          <p:cNvPr id="34" name="Inhaltsplatzhalter 2">
            <a:extLst>
              <a:ext uri="{FF2B5EF4-FFF2-40B4-BE49-F238E27FC236}">
                <a16:creationId xmlns:a16="http://schemas.microsoft.com/office/drawing/2014/main" id="{0DEDDB05-7F5A-7CB3-501B-56C7880557D4}"/>
              </a:ext>
            </a:extLst>
          </p:cNvPr>
          <p:cNvSpPr txBox="1">
            <a:spLocks/>
          </p:cNvSpPr>
          <p:nvPr/>
        </p:nvSpPr>
        <p:spPr>
          <a:xfrm>
            <a:off x="419101" y="2190391"/>
            <a:ext cx="3787774" cy="1538883"/>
          </a:xfrm>
          <a:prstGeom prst="rect">
            <a:avLst/>
          </a:prstGeom>
        </p:spPr>
        <p:txBody>
          <a:bodyPr wrap="square" lIns="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0" i="0" u="none" strike="noStrike" kern="1200" cap="none" spc="0" normalizeH="0" baseline="0" noProof="0">
                <a:ln>
                  <a:noFill/>
                </a:ln>
                <a:solidFill>
                  <a:srgbClr val="234432"/>
                </a:solidFill>
                <a:effectLst/>
                <a:uLnTx/>
                <a:uFillTx/>
                <a:latin typeface="Eifont"/>
                <a:ea typeface="+mn-ea"/>
                <a:cs typeface="+mn-cs"/>
              </a:rPr>
              <a:t>Antallet af nystiftede virksomheder har været faldende i en årrække, men </a:t>
            </a:r>
            <a:r>
              <a:rPr kumimoji="0" lang="da-DK" sz="1000" b="1" i="0" u="none" strike="noStrike" kern="1200" cap="none" spc="0" normalizeH="0" baseline="0" noProof="0">
                <a:ln>
                  <a:noFill/>
                </a:ln>
                <a:solidFill>
                  <a:srgbClr val="234432"/>
                </a:solidFill>
                <a:effectLst/>
                <a:uLnTx/>
                <a:uFillTx/>
                <a:latin typeface="Eifont"/>
                <a:ea typeface="+mn-ea"/>
                <a:cs typeface="+mn-cs"/>
              </a:rPr>
              <a:t>en stigning på 9% i 2025 </a:t>
            </a:r>
            <a:r>
              <a:rPr kumimoji="0" lang="da-DK" sz="1000" b="0" i="0" u="none" strike="noStrike" kern="1200" cap="none" spc="0" normalizeH="0" baseline="0" noProof="0">
                <a:ln>
                  <a:noFill/>
                </a:ln>
                <a:solidFill>
                  <a:srgbClr val="234432"/>
                </a:solidFill>
                <a:effectLst/>
                <a:uLnTx/>
                <a:uFillTx/>
                <a:latin typeface="Eifont"/>
                <a:ea typeface="+mn-ea"/>
                <a:cs typeface="+mn-cs"/>
              </a:rPr>
              <a:t>markerer et muligt vendepunkt.</a:t>
            </a: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endParaRPr kumimoji="0" lang="da-DK" sz="1000" b="0" i="0" u="none" strike="noStrike" kern="1200" cap="none" spc="0" normalizeH="0" baseline="0" noProof="0">
              <a:ln>
                <a:noFill/>
              </a:ln>
              <a:solidFill>
                <a:srgbClr val="234432"/>
              </a:solidFill>
              <a:effectLst/>
              <a:uLnTx/>
              <a:uFillTx/>
              <a:latin typeface="Eifont"/>
              <a:ea typeface="+mn-ea"/>
              <a:cs typeface="+mn-cs"/>
            </a:endParaRP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0" i="0" u="none" strike="noStrike" kern="1200" cap="none" spc="0" normalizeH="0" baseline="0" noProof="0">
                <a:ln>
                  <a:noFill/>
                </a:ln>
                <a:solidFill>
                  <a:srgbClr val="234432"/>
                </a:solidFill>
                <a:effectLst/>
                <a:uLnTx/>
                <a:uFillTx/>
                <a:latin typeface="Eifont"/>
                <a:ea typeface="+mn-ea"/>
                <a:cs typeface="+mn-cs"/>
              </a:rPr>
              <a:t>I 2025 er der for andet år i træk </a:t>
            </a:r>
            <a:r>
              <a:rPr kumimoji="0" lang="da-DK" sz="1000" b="1" i="0" u="none" strike="noStrike" kern="1200" cap="none" spc="0" normalizeH="0" baseline="0" noProof="0">
                <a:ln>
                  <a:noFill/>
                </a:ln>
                <a:solidFill>
                  <a:srgbClr val="234432"/>
                </a:solidFill>
                <a:effectLst/>
                <a:uLnTx/>
                <a:uFillTx/>
                <a:latin typeface="Eifont"/>
                <a:ea typeface="+mn-ea"/>
                <a:cs typeface="+mn-cs"/>
              </a:rPr>
              <a:t>oprettet flere </a:t>
            </a:r>
            <a:r>
              <a:rPr kumimoji="0" lang="da-DK" sz="1000" b="1" i="0" u="none" strike="noStrike" kern="1200" cap="none" spc="0" normalizeH="0" baseline="0" noProof="0" err="1">
                <a:ln>
                  <a:noFill/>
                </a:ln>
                <a:solidFill>
                  <a:srgbClr val="234432"/>
                </a:solidFill>
                <a:effectLst/>
                <a:uLnTx/>
                <a:uFillTx/>
                <a:latin typeface="Eifont"/>
                <a:ea typeface="+mn-ea"/>
                <a:cs typeface="+mn-cs"/>
              </a:rPr>
              <a:t>anparts-selskaber</a:t>
            </a:r>
            <a:r>
              <a:rPr kumimoji="0" lang="da-DK" sz="1000" b="0" i="0" u="none" strike="noStrike" kern="1200" cap="none" spc="0" normalizeH="0" baseline="0" noProof="0">
                <a:ln>
                  <a:noFill/>
                </a:ln>
                <a:solidFill>
                  <a:srgbClr val="234432"/>
                </a:solidFill>
                <a:effectLst/>
                <a:uLnTx/>
                <a:uFillTx/>
                <a:latin typeface="Eifont"/>
                <a:ea typeface="+mn-ea"/>
                <a:cs typeface="+mn-cs"/>
              </a:rPr>
              <a:t> end det forrige år.</a:t>
            </a: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endParaRPr lang="da-DK" sz="1000">
              <a:solidFill>
                <a:srgbClr val="234432"/>
              </a:solidFill>
              <a:latin typeface="Eifont"/>
            </a:endParaRP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lang="da-DK" sz="1000">
                <a:solidFill>
                  <a:srgbClr val="234432"/>
                </a:solidFill>
                <a:latin typeface="Eifont"/>
              </a:rPr>
              <a:t>Analysen bygger på et </a:t>
            </a:r>
            <a:r>
              <a:rPr lang="da-DK" sz="1000" b="1">
                <a:solidFill>
                  <a:srgbClr val="234432"/>
                </a:solidFill>
                <a:latin typeface="Eifont"/>
              </a:rPr>
              <a:t>bruttotræk af nyoprettede CVR-numre</a:t>
            </a:r>
            <a:r>
              <a:rPr lang="da-DK" sz="1000">
                <a:solidFill>
                  <a:srgbClr val="234432"/>
                </a:solidFill>
                <a:latin typeface="Eifont"/>
              </a:rPr>
              <a:t> og giver en indikation af udviklingen indenfor iværksætteri (se metode på s.11).</a:t>
            </a:r>
            <a:endParaRPr kumimoji="0" lang="da-DK" sz="1000" b="0" i="0" u="none" strike="noStrike" kern="1200" cap="none" spc="0" normalizeH="0" baseline="0" noProof="0">
              <a:ln>
                <a:noFill/>
              </a:ln>
              <a:solidFill>
                <a:srgbClr val="234432"/>
              </a:solidFill>
              <a:effectLst/>
              <a:uLnTx/>
              <a:uFillTx/>
              <a:latin typeface="Eifont"/>
              <a:ea typeface="+mn-ea"/>
              <a:cs typeface="+mn-cs"/>
            </a:endParaRPr>
          </a:p>
        </p:txBody>
      </p:sp>
      <p:sp>
        <p:nvSpPr>
          <p:cNvPr id="35" name="Inhaltsplatzhalter 2">
            <a:extLst>
              <a:ext uri="{FF2B5EF4-FFF2-40B4-BE49-F238E27FC236}">
                <a16:creationId xmlns:a16="http://schemas.microsoft.com/office/drawing/2014/main" id="{8B98735A-E158-21F8-06DE-141B80951BF5}"/>
              </a:ext>
            </a:extLst>
          </p:cNvPr>
          <p:cNvSpPr txBox="1">
            <a:spLocks/>
          </p:cNvSpPr>
          <p:nvPr/>
        </p:nvSpPr>
        <p:spPr>
          <a:xfrm>
            <a:off x="431799" y="4607618"/>
            <a:ext cx="3787774" cy="1728678"/>
          </a:xfrm>
          <a:prstGeom prst="rect">
            <a:avLst/>
          </a:prstGeom>
        </p:spPr>
        <p:txBody>
          <a:bodyPr wrap="square" lIns="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buClr>
                <a:srgbClr val="00B050"/>
              </a:buClr>
              <a:buSzPct val="150000"/>
              <a:buFont typeface="Eifont" pitchFamily="2" charset="0"/>
              <a:buChar char="•"/>
              <a:defRPr/>
            </a:pPr>
            <a:r>
              <a:rPr lang="da-DK" sz="1000" b="1">
                <a:solidFill>
                  <a:srgbClr val="234432"/>
                </a:solidFill>
                <a:latin typeface="Eifont"/>
              </a:rPr>
              <a:t>Stigning i alle regioner </a:t>
            </a:r>
            <a:r>
              <a:rPr lang="da-DK" sz="1000">
                <a:solidFill>
                  <a:srgbClr val="234432"/>
                </a:solidFill>
                <a:latin typeface="Eifont"/>
              </a:rPr>
              <a:t>i antal nystiftede virksomheder </a:t>
            </a:r>
            <a:r>
              <a:rPr lang="da-DK" sz="1000">
                <a:solidFill>
                  <a:srgbClr val="234432"/>
                </a:solidFill>
              </a:rPr>
              <a:t>i 2025. </a:t>
            </a:r>
          </a:p>
          <a:p>
            <a:pPr lvl="0">
              <a:spcBef>
                <a:spcPts val="0"/>
              </a:spcBef>
              <a:buClr>
                <a:srgbClr val="00B050"/>
              </a:buClr>
              <a:buSzPct val="150000"/>
              <a:buFont typeface="Eifont" pitchFamily="2" charset="0"/>
              <a:buChar char="•"/>
              <a:defRPr/>
            </a:pPr>
            <a:endParaRPr lang="da-DK" sz="1000">
              <a:solidFill>
                <a:srgbClr val="234432"/>
              </a:solidFill>
            </a:endParaRPr>
          </a:p>
          <a:p>
            <a:pPr lvl="0">
              <a:spcBef>
                <a:spcPts val="0"/>
              </a:spcBef>
              <a:buClr>
                <a:srgbClr val="00B050"/>
              </a:buClr>
              <a:buSzPct val="150000"/>
              <a:buFont typeface="Eifont" pitchFamily="2" charset="0"/>
              <a:buChar char="•"/>
              <a:defRPr/>
            </a:pPr>
            <a:r>
              <a:rPr lang="da-DK" sz="1000">
                <a:solidFill>
                  <a:srgbClr val="234432"/>
                </a:solidFill>
              </a:rPr>
              <a:t>Fordelingen af nystiftede virksomheder på regionsniveau har </a:t>
            </a:r>
            <a:r>
              <a:rPr lang="da-DK" sz="1000" b="1">
                <a:solidFill>
                  <a:srgbClr val="234432"/>
                </a:solidFill>
              </a:rPr>
              <a:t>ligget stabilt </a:t>
            </a:r>
            <a:r>
              <a:rPr lang="da-DK" sz="1000">
                <a:solidFill>
                  <a:srgbClr val="234432"/>
                </a:solidFill>
              </a:rPr>
              <a:t>i de senere år</a:t>
            </a:r>
            <a:r>
              <a:rPr lang="da-DK" sz="1000" b="1">
                <a:solidFill>
                  <a:srgbClr val="234432"/>
                </a:solidFill>
              </a:rPr>
              <a:t>,</a:t>
            </a:r>
            <a:r>
              <a:rPr lang="da-DK" sz="1000">
                <a:solidFill>
                  <a:srgbClr val="234432"/>
                </a:solidFill>
              </a:rPr>
              <a:t> </a:t>
            </a:r>
            <a:r>
              <a:rPr kumimoji="0" lang="da-DK" sz="1000" b="0" i="0" u="none" strike="noStrike" kern="1200" cap="none" spc="0" normalizeH="0" baseline="0" noProof="0">
                <a:ln>
                  <a:noFill/>
                </a:ln>
                <a:solidFill>
                  <a:srgbClr val="234432"/>
                </a:solidFill>
                <a:effectLst/>
                <a:uLnTx/>
                <a:uFillTx/>
                <a:latin typeface="Eifont"/>
                <a:ea typeface="+mn-ea"/>
                <a:cs typeface="+mn-cs"/>
              </a:rPr>
              <a:t>men i 2025 ses en </a:t>
            </a:r>
            <a:r>
              <a:rPr kumimoji="0" lang="da-DK" sz="1000" b="1" i="0" u="none" strike="noStrike" kern="1200" cap="none" spc="0" normalizeH="0" baseline="0" noProof="0">
                <a:ln>
                  <a:noFill/>
                </a:ln>
                <a:solidFill>
                  <a:srgbClr val="234432"/>
                </a:solidFill>
                <a:effectLst/>
                <a:uLnTx/>
                <a:uFillTx/>
                <a:latin typeface="Eifont"/>
                <a:ea typeface="+mn-ea"/>
                <a:cs typeface="+mn-cs"/>
              </a:rPr>
              <a:t>lidt større relativ stigning i Region Hovedstaden.</a:t>
            </a: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endParaRPr kumimoji="0" lang="da-DK" sz="1000" b="0" i="0" u="none" strike="noStrike" kern="1200" cap="none" spc="0" normalizeH="0" baseline="0" noProof="0">
              <a:ln>
                <a:noFill/>
              </a:ln>
              <a:solidFill>
                <a:srgbClr val="234432"/>
              </a:solidFill>
              <a:effectLst/>
              <a:uLnTx/>
              <a:uFillTx/>
              <a:latin typeface="Eifont"/>
              <a:ea typeface="+mn-ea"/>
              <a:cs typeface="+mn-cs"/>
            </a:endParaRP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0" i="0" u="none" strike="noStrike" kern="1200" cap="none" spc="0" normalizeH="0" baseline="0" noProof="0">
                <a:ln>
                  <a:noFill/>
                </a:ln>
                <a:solidFill>
                  <a:srgbClr val="234432"/>
                </a:solidFill>
                <a:effectLst/>
                <a:uLnTx/>
                <a:uFillTx/>
                <a:latin typeface="Eifont"/>
                <a:ea typeface="+mn-ea"/>
                <a:cs typeface="+mn-cs"/>
              </a:rPr>
              <a:t>Kommunerne, </a:t>
            </a:r>
            <a:r>
              <a:rPr kumimoji="0" lang="da-DK" sz="1000" b="1" i="0" u="none" strike="noStrike" kern="1200" cap="none" spc="0" normalizeH="0" baseline="0" noProof="0">
                <a:ln>
                  <a:noFill/>
                </a:ln>
                <a:solidFill>
                  <a:srgbClr val="234432"/>
                </a:solidFill>
                <a:effectLst/>
                <a:uLnTx/>
                <a:uFillTx/>
                <a:latin typeface="Eifont"/>
                <a:ea typeface="+mn-ea"/>
                <a:cs typeface="+mn-cs"/>
              </a:rPr>
              <a:t>Læsø og Struer har størst fremgang </a:t>
            </a:r>
            <a:r>
              <a:rPr kumimoji="0" lang="da-DK" sz="1000" b="0" i="0" u="none" strike="noStrike" kern="1200" cap="none" spc="0" normalizeH="0" baseline="0" noProof="0">
                <a:ln>
                  <a:noFill/>
                </a:ln>
                <a:solidFill>
                  <a:srgbClr val="234432"/>
                </a:solidFill>
                <a:effectLst/>
                <a:uLnTx/>
                <a:uFillTx/>
                <a:latin typeface="Eifont"/>
                <a:ea typeface="+mn-ea"/>
                <a:cs typeface="+mn-cs"/>
              </a:rPr>
              <a:t>målt på nystiftede virksomheder pr. 1.000 indbyggere.</a:t>
            </a:r>
          </a:p>
          <a:p>
            <a:pPr marL="228600" marR="0" lvl="0" indent="-228600" algn="l" defTabSz="914400" rtl="0" eaLnBrk="1" fontAlgn="auto" latinLnBrk="0" hangingPunct="1">
              <a:lnSpc>
                <a:spcPct val="100000"/>
              </a:lnSpc>
              <a:spcBef>
                <a:spcPts val="1000"/>
              </a:spcBef>
              <a:spcAft>
                <a:spcPts val="0"/>
              </a:spcAft>
              <a:buClr>
                <a:srgbClr val="00B050"/>
              </a:buClr>
              <a:buSzPct val="150000"/>
              <a:buFont typeface="Eifont" pitchFamily="2" charset="0"/>
              <a:buChar char="•"/>
              <a:tabLst/>
              <a:defRPr/>
            </a:pPr>
            <a:endParaRPr kumimoji="0" lang="da-DK" sz="1400" b="0" i="0" u="none" strike="noStrike" kern="1200" cap="none" spc="0" normalizeH="0" baseline="0" noProof="0">
              <a:ln>
                <a:noFill/>
              </a:ln>
              <a:solidFill>
                <a:srgbClr val="234432"/>
              </a:solidFill>
              <a:effectLst/>
              <a:uLnTx/>
              <a:uFillTx/>
              <a:latin typeface="Eifont"/>
              <a:ea typeface="+mn-ea"/>
              <a:cs typeface="+mn-cs"/>
            </a:endParaRPr>
          </a:p>
        </p:txBody>
      </p:sp>
      <p:sp>
        <p:nvSpPr>
          <p:cNvPr id="36" name="Inhaltsplatzhalter 2">
            <a:extLst>
              <a:ext uri="{FF2B5EF4-FFF2-40B4-BE49-F238E27FC236}">
                <a16:creationId xmlns:a16="http://schemas.microsoft.com/office/drawing/2014/main" id="{037EB20B-79AC-1E52-9874-66D5B04C0E12}"/>
              </a:ext>
            </a:extLst>
          </p:cNvPr>
          <p:cNvSpPr txBox="1">
            <a:spLocks/>
          </p:cNvSpPr>
          <p:nvPr/>
        </p:nvSpPr>
        <p:spPr>
          <a:xfrm>
            <a:off x="8023226" y="2190391"/>
            <a:ext cx="3787775" cy="769441"/>
          </a:xfrm>
          <a:prstGeom prst="rect">
            <a:avLst/>
          </a:prstGeom>
        </p:spPr>
        <p:txBody>
          <a:bodyPr lIns="0" tIns="0" rIns="0" bIns="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0" i="0" u="none" strike="noStrike" kern="1200" cap="none" spc="0" normalizeH="0" baseline="0" noProof="0">
                <a:ln>
                  <a:noFill/>
                </a:ln>
                <a:solidFill>
                  <a:srgbClr val="234432"/>
                </a:solidFill>
                <a:effectLst/>
                <a:uLnTx/>
                <a:uFillTx/>
                <a:latin typeface="Eifont"/>
                <a:ea typeface="+mn-ea"/>
                <a:cs typeface="+mn-cs"/>
              </a:rPr>
              <a:t>Branchegrupperingen</a:t>
            </a:r>
            <a:r>
              <a:rPr kumimoji="0" lang="da-DK" sz="1000" b="1" i="0" u="none" strike="noStrike" kern="1200" cap="none" spc="0" normalizeH="0" baseline="0" noProof="0">
                <a:ln>
                  <a:noFill/>
                </a:ln>
                <a:solidFill>
                  <a:srgbClr val="234432"/>
                </a:solidFill>
                <a:effectLst/>
                <a:uLnTx/>
                <a:uFillTx/>
                <a:latin typeface="Eifont"/>
                <a:ea typeface="+mn-ea"/>
                <a:cs typeface="+mn-cs"/>
              </a:rPr>
              <a:t>, rådgivning og forretningsservice </a:t>
            </a:r>
            <a:r>
              <a:rPr kumimoji="0" lang="da-DK" sz="1000" i="0" u="none" strike="noStrike" kern="1200" cap="none" spc="0" normalizeH="0" baseline="0" noProof="0">
                <a:ln>
                  <a:noFill/>
                </a:ln>
                <a:solidFill>
                  <a:srgbClr val="234432"/>
                </a:solidFill>
                <a:effectLst/>
                <a:uLnTx/>
                <a:uFillTx/>
                <a:latin typeface="Eifont"/>
                <a:ea typeface="+mn-ea"/>
                <a:cs typeface="+mn-cs"/>
              </a:rPr>
              <a:t>udgør</a:t>
            </a:r>
            <a:r>
              <a:rPr kumimoji="0" lang="da-DK" sz="1000" b="1" i="0" u="none" strike="noStrike" kern="1200" cap="none" spc="0" normalizeH="0" baseline="0" noProof="0">
                <a:ln>
                  <a:noFill/>
                </a:ln>
                <a:solidFill>
                  <a:srgbClr val="234432"/>
                </a:solidFill>
                <a:effectLst/>
                <a:uLnTx/>
                <a:uFillTx/>
                <a:latin typeface="Eifont"/>
                <a:ea typeface="+mn-ea"/>
                <a:cs typeface="+mn-cs"/>
              </a:rPr>
              <a:t> 25 procent</a:t>
            </a:r>
            <a:r>
              <a:rPr kumimoji="0" lang="da-DK" sz="1000" b="0" i="0" u="none" strike="noStrike" kern="1200" cap="none" spc="0" normalizeH="0" baseline="0" noProof="0">
                <a:ln>
                  <a:noFill/>
                </a:ln>
                <a:solidFill>
                  <a:srgbClr val="234432"/>
                </a:solidFill>
                <a:effectLst/>
                <a:uLnTx/>
                <a:uFillTx/>
                <a:latin typeface="Eifont"/>
                <a:ea typeface="+mn-ea"/>
                <a:cs typeface="+mn-cs"/>
              </a:rPr>
              <a:t> af nystiftede virksomheder i 2025. </a:t>
            </a: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endParaRPr kumimoji="0" lang="da-DK" sz="1000" b="0" i="0" u="none" strike="noStrike" kern="1200" cap="none" spc="0" normalizeH="0" baseline="0" noProof="0">
              <a:ln>
                <a:noFill/>
              </a:ln>
              <a:solidFill>
                <a:schemeClr val="accent5"/>
              </a:solidFill>
              <a:effectLst/>
              <a:uLnTx/>
              <a:uFillTx/>
              <a:latin typeface="Eifont"/>
              <a:ea typeface="+mn-ea"/>
              <a:cs typeface="+mn-cs"/>
            </a:endParaRPr>
          </a:p>
          <a:p>
            <a:pPr lvl="0">
              <a:spcBef>
                <a:spcPts val="0"/>
              </a:spcBef>
              <a:buClr>
                <a:srgbClr val="00B050"/>
              </a:buClr>
              <a:buSzPct val="150000"/>
              <a:buFont typeface="Eifont" pitchFamily="2" charset="0"/>
              <a:buChar char="•"/>
              <a:defRPr/>
            </a:pPr>
            <a:r>
              <a:rPr lang="da-DK" sz="1000">
                <a:solidFill>
                  <a:schemeClr val="accent5"/>
                </a:solidFill>
              </a:rPr>
              <a:t>Inden for branchegruppen </a:t>
            </a:r>
            <a:r>
              <a:rPr lang="da-DK" sz="1000" b="1">
                <a:solidFill>
                  <a:schemeClr val="accent5"/>
                </a:solidFill>
              </a:rPr>
              <a:t>IT og medier</a:t>
            </a:r>
            <a:r>
              <a:rPr lang="da-DK" sz="1000">
                <a:solidFill>
                  <a:schemeClr val="accent5"/>
                </a:solidFill>
              </a:rPr>
              <a:t> blev der i 2025 stiftet </a:t>
            </a:r>
            <a:r>
              <a:rPr lang="da-DK" sz="1000" b="1">
                <a:solidFill>
                  <a:schemeClr val="accent5"/>
                </a:solidFill>
              </a:rPr>
              <a:t>25 % flere virksomheder</a:t>
            </a:r>
            <a:r>
              <a:rPr lang="da-DK" sz="1000">
                <a:solidFill>
                  <a:schemeClr val="accent5"/>
                </a:solidFill>
              </a:rPr>
              <a:t> sammenlignet med året forinden</a:t>
            </a:r>
            <a:r>
              <a:rPr lang="da-DK" sz="1000"/>
              <a:t>.</a:t>
            </a:r>
            <a:endParaRPr kumimoji="0" lang="da-DK" sz="1000" i="0" u="none" strike="noStrike" kern="1200" cap="none" spc="0" normalizeH="0" baseline="0" noProof="0">
              <a:ln>
                <a:noFill/>
              </a:ln>
              <a:solidFill>
                <a:srgbClr val="234432"/>
              </a:solidFill>
              <a:effectLst/>
              <a:uLnTx/>
              <a:uFillTx/>
              <a:latin typeface="Eifont"/>
              <a:ea typeface="+mn-ea"/>
              <a:cs typeface="+mn-cs"/>
            </a:endParaRPr>
          </a:p>
        </p:txBody>
      </p:sp>
      <p:sp>
        <p:nvSpPr>
          <p:cNvPr id="37" name="Inhaltsplatzhalter 2">
            <a:extLst>
              <a:ext uri="{FF2B5EF4-FFF2-40B4-BE49-F238E27FC236}">
                <a16:creationId xmlns:a16="http://schemas.microsoft.com/office/drawing/2014/main" id="{EED8C442-94AA-6F8C-E672-DEB9793562E9}"/>
              </a:ext>
            </a:extLst>
          </p:cNvPr>
          <p:cNvSpPr txBox="1">
            <a:spLocks/>
          </p:cNvSpPr>
          <p:nvPr/>
        </p:nvSpPr>
        <p:spPr>
          <a:xfrm>
            <a:off x="8035924" y="4607618"/>
            <a:ext cx="3787775" cy="1538883"/>
          </a:xfrm>
          <a:prstGeom prst="rect">
            <a:avLst/>
          </a:prstGeom>
        </p:spPr>
        <p:txBody>
          <a:bodyPr lIns="0" tIns="0" rIns="0" bIns="0">
            <a:noAutofit/>
          </a:bodyPr>
          <a:lstStyle>
            <a:defPPr>
              <a:defRPr lang="en-US"/>
            </a:defPPr>
            <a:lvl1pPr marL="171450" lvl="0" indent="-171450">
              <a:lnSpc>
                <a:spcPct val="100000"/>
              </a:lnSpc>
              <a:spcBef>
                <a:spcPts val="0"/>
              </a:spcBef>
              <a:buFont typeface="Arial" panose="020B0604020202020204" pitchFamily="34" charset="0"/>
              <a:buChar char="•"/>
              <a:defRPr sz="1000">
                <a:solidFill>
                  <a:srgbClr val="FFFFFF"/>
                </a:solidFill>
              </a:defRPr>
            </a:lvl1pPr>
            <a:lvl2pPr marL="466725" indent="-222250">
              <a:lnSpc>
                <a:spcPct val="100000"/>
              </a:lnSpc>
              <a:spcBef>
                <a:spcPts val="500"/>
              </a:spcBef>
              <a:buFont typeface="Arial" panose="020B0604020202020204" pitchFamily="34" charset="0"/>
              <a:buChar char="•"/>
              <a:defRPr sz="2200"/>
            </a:lvl2pPr>
            <a:lvl3pPr marL="720725" indent="-217488">
              <a:lnSpc>
                <a:spcPct val="100000"/>
              </a:lnSpc>
              <a:spcBef>
                <a:spcPts val="500"/>
              </a:spcBef>
              <a:buFont typeface="Arial" panose="020B0604020202020204" pitchFamily="34" charset="0"/>
              <a:buChar char="•"/>
              <a:defRPr sz="2000">
                <a:solidFill>
                  <a:schemeClr val="accent1"/>
                </a:solidFill>
              </a:defRPr>
            </a:lvl3pPr>
            <a:lvl4pPr marL="900113" indent="-193675">
              <a:lnSpc>
                <a:spcPct val="100000"/>
              </a:lnSpc>
              <a:spcBef>
                <a:spcPts val="500"/>
              </a:spcBef>
              <a:buFont typeface="Arial" panose="020B0604020202020204" pitchFamily="34" charset="0"/>
              <a:buChar char="•"/>
              <a:defRPr>
                <a:solidFill>
                  <a:schemeClr val="accent3"/>
                </a:solidFill>
              </a:defRPr>
            </a:lvl4pPr>
            <a:lvl5pPr marL="1136650" indent="-185738">
              <a:lnSpc>
                <a:spcPct val="10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1" i="0" u="none" strike="noStrike" kern="1200" cap="none" spc="0" normalizeH="0" baseline="0" noProof="0">
                <a:ln>
                  <a:noFill/>
                </a:ln>
                <a:solidFill>
                  <a:srgbClr val="234432"/>
                </a:solidFill>
                <a:effectLst/>
                <a:uLnTx/>
                <a:uFillTx/>
                <a:latin typeface="Eifont"/>
                <a:ea typeface="+mn-ea"/>
                <a:cs typeface="+mn-cs"/>
              </a:rPr>
              <a:t>Hovedstadskommuner</a:t>
            </a:r>
            <a:r>
              <a:rPr kumimoji="0" lang="da-DK" sz="1000" b="0" i="0" u="none" strike="noStrike" kern="1200" cap="none" spc="0" normalizeH="0" baseline="0" noProof="0">
                <a:ln>
                  <a:noFill/>
                </a:ln>
                <a:solidFill>
                  <a:srgbClr val="234432"/>
                </a:solidFill>
                <a:effectLst/>
                <a:uLnTx/>
                <a:uFillTx/>
                <a:latin typeface="Eifont"/>
                <a:ea typeface="+mn-ea"/>
                <a:cs typeface="+mn-cs"/>
              </a:rPr>
              <a:t> skiller sig ud med en </a:t>
            </a:r>
            <a:r>
              <a:rPr kumimoji="0" lang="da-DK" sz="1000" b="1" i="0" u="none" strike="noStrike" kern="1200" cap="none" spc="0" normalizeH="0" baseline="0" noProof="0">
                <a:ln>
                  <a:noFill/>
                </a:ln>
                <a:solidFill>
                  <a:srgbClr val="234432"/>
                </a:solidFill>
                <a:effectLst/>
                <a:uLnTx/>
                <a:uFillTx/>
                <a:latin typeface="Eifont"/>
                <a:ea typeface="+mn-ea"/>
                <a:cs typeface="+mn-cs"/>
              </a:rPr>
              <a:t>høj andel af nyetableringer indenfor </a:t>
            </a:r>
            <a:r>
              <a:rPr kumimoji="0" lang="da-DK" sz="1000" b="1" i="0" u="none" strike="noStrike" kern="1200" cap="none" spc="0" normalizeH="0" baseline="0" noProof="0" err="1">
                <a:ln>
                  <a:noFill/>
                </a:ln>
                <a:solidFill>
                  <a:srgbClr val="234432"/>
                </a:solidFill>
                <a:effectLst/>
                <a:uLnTx/>
                <a:uFillTx/>
                <a:latin typeface="Eifont"/>
                <a:ea typeface="+mn-ea"/>
                <a:cs typeface="+mn-cs"/>
              </a:rPr>
              <a:t>vidensservice</a:t>
            </a:r>
            <a:r>
              <a:rPr kumimoji="0" lang="da-DK" sz="1000" b="0" i="0" u="none" strike="noStrike" kern="1200" cap="none" spc="0" normalizeH="0" baseline="0" noProof="0">
                <a:ln>
                  <a:noFill/>
                </a:ln>
                <a:solidFill>
                  <a:srgbClr val="234432"/>
                </a:solidFill>
                <a:effectLst/>
                <a:uLnTx/>
                <a:uFillTx/>
                <a:latin typeface="Eifont"/>
                <a:ea typeface="+mn-ea"/>
                <a:cs typeface="+mn-cs"/>
              </a:rPr>
              <a:t> (især rådgivning/ forretningsservice), mens </a:t>
            </a:r>
            <a:r>
              <a:rPr kumimoji="0" lang="da-DK" sz="1000" b="1" i="0" u="none" strike="noStrike" kern="1200" cap="none" spc="0" normalizeH="0" baseline="0" noProof="0">
                <a:ln>
                  <a:noFill/>
                </a:ln>
                <a:solidFill>
                  <a:srgbClr val="234432"/>
                </a:solidFill>
                <a:effectLst/>
                <a:uLnTx/>
                <a:uFillTx/>
                <a:latin typeface="Eifont"/>
                <a:ea typeface="+mn-ea"/>
                <a:cs typeface="+mn-cs"/>
              </a:rPr>
              <a:t>oplands- og landkommuner </a:t>
            </a:r>
            <a:r>
              <a:rPr kumimoji="0" lang="da-DK" sz="1000" b="0" i="0" u="none" strike="noStrike" kern="1200" cap="none" spc="0" normalizeH="0" baseline="0" noProof="0">
                <a:ln>
                  <a:noFill/>
                </a:ln>
                <a:solidFill>
                  <a:srgbClr val="234432"/>
                </a:solidFill>
                <a:effectLst/>
                <a:uLnTx/>
                <a:uFillTx/>
                <a:latin typeface="Eifont"/>
                <a:ea typeface="+mn-ea"/>
                <a:cs typeface="+mn-cs"/>
              </a:rPr>
              <a:t>har flere nyetableringer indenfor erhverv som </a:t>
            </a:r>
            <a:r>
              <a:rPr kumimoji="0" lang="da-DK" sz="1000" b="1" i="0" u="none" strike="noStrike" kern="1200" cap="none" spc="0" normalizeH="0" baseline="0" noProof="0">
                <a:ln>
                  <a:noFill/>
                </a:ln>
                <a:solidFill>
                  <a:srgbClr val="234432"/>
                </a:solidFill>
                <a:effectLst/>
                <a:uLnTx/>
                <a:uFillTx/>
                <a:latin typeface="Eifont"/>
                <a:ea typeface="+mn-ea"/>
                <a:cs typeface="+mn-cs"/>
              </a:rPr>
              <a:t>landbrug, byggeri og industri.</a:t>
            </a: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endParaRPr kumimoji="0" lang="da-DK" sz="1000" b="0" i="0" u="none" strike="noStrike" kern="1200" cap="none" spc="0" normalizeH="0" baseline="0" noProof="0">
              <a:ln>
                <a:noFill/>
              </a:ln>
              <a:solidFill>
                <a:srgbClr val="234432"/>
              </a:solidFill>
              <a:effectLst/>
              <a:uLnTx/>
              <a:uFillTx/>
              <a:latin typeface="Eifont"/>
              <a:ea typeface="+mn-ea"/>
              <a:cs typeface="+mn-cs"/>
            </a:endParaRPr>
          </a:p>
          <a:p>
            <a:pPr marL="228600" marR="0" lvl="0" indent="-228600" algn="l" defTabSz="914400" rtl="0" eaLnBrk="1" fontAlgn="auto" latinLnBrk="0" hangingPunct="1">
              <a:lnSpc>
                <a:spcPct val="100000"/>
              </a:lnSpc>
              <a:spcBef>
                <a:spcPts val="0"/>
              </a:spcBef>
              <a:spcAft>
                <a:spcPts val="0"/>
              </a:spcAft>
              <a:buClr>
                <a:srgbClr val="00B050"/>
              </a:buClr>
              <a:buSzPct val="150000"/>
              <a:buFont typeface="Eifont" pitchFamily="2" charset="0"/>
              <a:buChar char="•"/>
              <a:tabLst/>
              <a:defRPr/>
            </a:pPr>
            <a:r>
              <a:rPr kumimoji="0" lang="da-DK" sz="1000" b="0" i="0" u="none" strike="noStrike" kern="1200" cap="none" spc="0" normalizeH="0" baseline="0" noProof="0">
                <a:ln>
                  <a:noFill/>
                </a:ln>
                <a:solidFill>
                  <a:srgbClr val="234432"/>
                </a:solidFill>
                <a:effectLst/>
                <a:uLnTx/>
                <a:uFillTx/>
                <a:latin typeface="Eifont"/>
                <a:ea typeface="+mn-ea"/>
                <a:cs typeface="+mn-cs"/>
              </a:rPr>
              <a:t>De største </a:t>
            </a:r>
            <a:r>
              <a:rPr kumimoji="0" lang="da-DK" sz="1000" b="1" i="0" u="none" strike="noStrike" kern="1200" cap="none" spc="0" normalizeH="0" baseline="0" noProof="0">
                <a:ln>
                  <a:noFill/>
                </a:ln>
                <a:solidFill>
                  <a:srgbClr val="234432"/>
                </a:solidFill>
                <a:effectLst/>
                <a:uLnTx/>
                <a:uFillTx/>
                <a:latin typeface="Eifont"/>
                <a:ea typeface="+mn-ea"/>
                <a:cs typeface="+mn-cs"/>
              </a:rPr>
              <a:t>geografiske forskydninger </a:t>
            </a:r>
            <a:r>
              <a:rPr kumimoji="0" lang="da-DK" sz="1000" b="0" i="0" u="none" strike="noStrike" kern="1200" cap="none" spc="0" normalizeH="0" baseline="0" noProof="0">
                <a:ln>
                  <a:noFill/>
                </a:ln>
                <a:solidFill>
                  <a:srgbClr val="234432"/>
                </a:solidFill>
                <a:effectLst/>
                <a:uLnTx/>
                <a:uFillTx/>
                <a:latin typeface="Eifont"/>
                <a:ea typeface="+mn-ea"/>
                <a:cs typeface="+mn-cs"/>
              </a:rPr>
              <a:t>ses i brancher </a:t>
            </a:r>
            <a:r>
              <a:rPr kumimoji="0" lang="da-DK" sz="1000" b="1" i="0" u="none" strike="noStrike" kern="1200" cap="none" spc="0" normalizeH="0" baseline="0" noProof="0">
                <a:ln>
                  <a:noFill/>
                </a:ln>
                <a:solidFill>
                  <a:srgbClr val="234432"/>
                </a:solidFill>
                <a:effectLst/>
                <a:uLnTx/>
                <a:uFillTx/>
                <a:latin typeface="Eifont"/>
                <a:ea typeface="+mn-ea"/>
                <a:cs typeface="+mn-cs"/>
              </a:rPr>
              <a:t>byggeri, IT og medier samt rådgivning/forretningsservice,</a:t>
            </a:r>
            <a:r>
              <a:rPr kumimoji="0" lang="da-DK" sz="1000" b="0" i="0" u="none" strike="noStrike" kern="1200" cap="none" spc="0" normalizeH="0" baseline="0" noProof="0">
                <a:ln>
                  <a:noFill/>
                </a:ln>
                <a:solidFill>
                  <a:srgbClr val="234432"/>
                </a:solidFill>
                <a:effectLst/>
                <a:uLnTx/>
                <a:uFillTx/>
                <a:latin typeface="Eifont"/>
                <a:ea typeface="+mn-ea"/>
                <a:cs typeface="+mn-cs"/>
              </a:rPr>
              <a:t> hvor forskellen mellem kommunetyper ligger omkring 8–9 procentpoint.</a:t>
            </a:r>
          </a:p>
        </p:txBody>
      </p:sp>
      <p:pic>
        <p:nvPicPr>
          <p:cNvPr id="5" name="Billede 11">
            <a:extLst>
              <a:ext uri="{FF2B5EF4-FFF2-40B4-BE49-F238E27FC236}">
                <a16:creationId xmlns:a16="http://schemas.microsoft.com/office/drawing/2014/main" id="{8A33C034-AD5E-FB55-83C0-C5F37AEDEA4F}"/>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l="7244" t="-1703" r="4750" b="1704"/>
          <a:stretch/>
        </p:blipFill>
        <p:spPr>
          <a:xfrm>
            <a:off x="4920491" y="4138306"/>
            <a:ext cx="603535" cy="685785"/>
          </a:xfrm>
          <a:prstGeom prst="rect">
            <a:avLst/>
          </a:prstGeom>
        </p:spPr>
      </p:pic>
      <p:sp>
        <p:nvSpPr>
          <p:cNvPr id="13" name="Title 14">
            <a:extLst>
              <a:ext uri="{FF2B5EF4-FFF2-40B4-BE49-F238E27FC236}">
                <a16:creationId xmlns:a16="http://schemas.microsoft.com/office/drawing/2014/main" id="{ABE6F145-B60D-DB9A-6FAA-570CBFD66CDD}"/>
              </a:ext>
            </a:extLst>
          </p:cNvPr>
          <p:cNvSpPr txBox="1">
            <a:spLocks/>
          </p:cNvSpPr>
          <p:nvPr/>
        </p:nvSpPr>
        <p:spPr>
          <a:xfrm>
            <a:off x="431799" y="431802"/>
            <a:ext cx="10383839" cy="966187"/>
          </a:xfrm>
          <a:prstGeom prst="rect">
            <a:avLst/>
          </a:prstGeom>
        </p:spPr>
        <p:txBody>
          <a:bodyPr vert="horz" anchor="b"/>
          <a:lstStyle>
            <a:lvl1pPr algn="l" defTabSz="914400" rtl="0" eaLnBrk="1" latinLnBrk="0" hangingPunct="1">
              <a:lnSpc>
                <a:spcPct val="90000"/>
              </a:lnSpc>
              <a:spcBef>
                <a:spcPct val="0"/>
              </a:spcBef>
              <a:buNone/>
              <a:defRPr sz="3600" b="0" i="0" kern="1200">
                <a:solidFill>
                  <a:schemeClr val="tx1"/>
                </a:solidFill>
                <a:latin typeface="Eifont Display"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234432"/>
                </a:solidFill>
                <a:effectLst/>
                <a:uLnTx/>
                <a:uFillTx/>
                <a:latin typeface="Eifont Display" pitchFamily="2" charset="0"/>
                <a:ea typeface="+mj-ea"/>
                <a:cs typeface="+mj-cs"/>
              </a:rPr>
              <a:t>Highlight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a-DK" sz="2800" b="0" i="0" u="none" strike="noStrike" kern="1200" cap="none" spc="0" normalizeH="0" baseline="0" noProof="0">
              <a:ln>
                <a:noFill/>
              </a:ln>
              <a:solidFill>
                <a:srgbClr val="234432"/>
              </a:solidFill>
              <a:effectLst/>
              <a:uLnTx/>
              <a:uFillTx/>
              <a:latin typeface="Eifont Display" pitchFamily="2" charset="77"/>
              <a:ea typeface="+mj-ea"/>
              <a:cs typeface="+mj-cs"/>
            </a:endParaRPr>
          </a:p>
        </p:txBody>
      </p:sp>
      <p:sp>
        <p:nvSpPr>
          <p:cNvPr id="2" name="TextBox 1">
            <a:extLst>
              <a:ext uri="{FF2B5EF4-FFF2-40B4-BE49-F238E27FC236}">
                <a16:creationId xmlns:a16="http://schemas.microsoft.com/office/drawing/2014/main" id="{0C11E95A-A581-3146-8361-67191C0B3E18}"/>
              </a:ext>
            </a:extLst>
          </p:cNvPr>
          <p:cNvSpPr txBox="1"/>
          <p:nvPr/>
        </p:nvSpPr>
        <p:spPr>
          <a:xfrm>
            <a:off x="10815638" y="6424613"/>
            <a:ext cx="94297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234432"/>
                </a:solidFill>
                <a:effectLst/>
                <a:uLnTx/>
                <a:uFillTx/>
                <a:latin typeface="Eifont"/>
                <a:ea typeface="+mn-ea"/>
                <a:cs typeface="+mn-cs"/>
              </a:rPr>
              <a:t>3</a:t>
            </a:r>
          </a:p>
        </p:txBody>
      </p:sp>
      <p:pic>
        <p:nvPicPr>
          <p:cNvPr id="3" name="Graphic 5">
            <a:extLst>
              <a:ext uri="{FF2B5EF4-FFF2-40B4-BE49-F238E27FC236}">
                <a16:creationId xmlns:a16="http://schemas.microsoft.com/office/drawing/2014/main" id="{F06FF8C3-D144-DBEF-EE90-EC522E18B6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24213" y="432000"/>
            <a:ext cx="734400" cy="378216"/>
          </a:xfrm>
          <a:prstGeom prst="rect">
            <a:avLst/>
          </a:prstGeom>
        </p:spPr>
      </p:pic>
      <p:pic>
        <p:nvPicPr>
          <p:cNvPr id="7" name="Grafik 6">
            <a:extLst>
              <a:ext uri="{FF2B5EF4-FFF2-40B4-BE49-F238E27FC236}">
                <a16:creationId xmlns:a16="http://schemas.microsoft.com/office/drawing/2014/main" id="{0C50479E-8D8A-0A4C-7CEE-97BB202B93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14628" y="2619353"/>
            <a:ext cx="603256" cy="603256"/>
          </a:xfrm>
          <a:prstGeom prst="rect">
            <a:avLst/>
          </a:prstGeom>
        </p:spPr>
      </p:pic>
      <p:pic>
        <p:nvPicPr>
          <p:cNvPr id="8" name="Grafik 7">
            <a:extLst>
              <a:ext uri="{FF2B5EF4-FFF2-40B4-BE49-F238E27FC236}">
                <a16:creationId xmlns:a16="http://schemas.microsoft.com/office/drawing/2014/main" id="{918F2D71-F840-B243-0684-72417EB4A5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73228" y="4138306"/>
            <a:ext cx="686056" cy="686056"/>
          </a:xfrm>
          <a:prstGeom prst="rect">
            <a:avLst/>
          </a:prstGeom>
        </p:spPr>
      </p:pic>
      <p:pic>
        <p:nvPicPr>
          <p:cNvPr id="9" name="Grafik 8">
            <a:extLst>
              <a:ext uri="{FF2B5EF4-FFF2-40B4-BE49-F238E27FC236}">
                <a16:creationId xmlns:a16="http://schemas.microsoft.com/office/drawing/2014/main" id="{06E914F8-47F1-EFE3-A2C1-6E3F0229FC8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11725" y="2540199"/>
            <a:ext cx="686057" cy="686057"/>
          </a:xfrm>
          <a:prstGeom prst="rect">
            <a:avLst/>
          </a:prstGeom>
        </p:spPr>
      </p:pic>
    </p:spTree>
    <p:extLst>
      <p:ext uri="{BB962C8B-B14F-4D97-AF65-F5344CB8AC3E}">
        <p14:creationId xmlns:p14="http://schemas.microsoft.com/office/powerpoint/2010/main" val="4073539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CD6E0-6C40-E4C1-6287-F44AF62FBFE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17EEE95-470D-F117-60C8-91862C296047}"/>
              </a:ext>
            </a:extLst>
          </p:cNvPr>
          <p:cNvGraphicFramePr>
            <a:graphicFrameLocks noChangeAspect="1"/>
          </p:cNvGraphicFramePr>
          <p:nvPr>
            <p:custDataLst>
              <p:tags r:id="rId1"/>
            </p:custDataLst>
            <p:extLst>
              <p:ext uri="{D42A27DB-BD31-4B8C-83A1-F6EECF244321}">
                <p14:modId xmlns:p14="http://schemas.microsoft.com/office/powerpoint/2010/main" val="13405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04" imgH="405" progId="TCLayout.ActiveDocument.1">
                  <p:embed/>
                </p:oleObj>
              </mc:Choice>
              <mc:Fallback>
                <p:oleObj name="think-cell Slide" r:id="rId48" imgW="404" imgH="405" progId="TCLayout.ActiveDocument.1">
                  <p:embed/>
                  <p:pic>
                    <p:nvPicPr>
                      <p:cNvPr id="18" name="think-cell data - do not delete" hidden="1">
                        <a:extLst>
                          <a:ext uri="{FF2B5EF4-FFF2-40B4-BE49-F238E27FC236}">
                            <a16:creationId xmlns:a16="http://schemas.microsoft.com/office/drawing/2014/main" id="{717EEE95-470D-F117-60C8-91862C296047}"/>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A834FE5B-F15A-64ED-E791-7868D2DCB881}"/>
              </a:ext>
            </a:extLst>
          </p:cNvPr>
          <p:cNvSpPr/>
          <p:nvPr>
            <p:custDataLst>
              <p:tags r:id="rId2"/>
            </p:custDataLst>
          </p:nvPr>
        </p:nvSpPr>
        <p:spPr>
          <a:xfrm>
            <a:off x="6532563" y="2601555"/>
            <a:ext cx="2151063" cy="3823057"/>
          </a:xfrm>
          <a:prstGeom prst="rect">
            <a:avLst/>
          </a:prstGeom>
          <a:solidFill>
            <a:schemeClr val="bg1">
              <a:lumMod val="95000"/>
              <a:alpha val="5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21019D1F-08E6-A965-A992-67C444AD1071}"/>
              </a:ext>
            </a:extLst>
          </p:cNvPr>
          <p:cNvSpPr>
            <a:spLocks noGrp="1"/>
          </p:cNvSpPr>
          <p:nvPr>
            <p:ph type="title"/>
          </p:nvPr>
        </p:nvSpPr>
        <p:spPr>
          <a:xfrm>
            <a:off x="431798" y="431802"/>
            <a:ext cx="8416927" cy="966187"/>
          </a:xfrm>
        </p:spPr>
        <p:txBody>
          <a:bodyPr vert="horz"/>
          <a:lstStyle/>
          <a:p>
            <a:r>
              <a:rPr lang="da-DK" sz="2800"/>
              <a:t>Overordnet vækst</a:t>
            </a:r>
            <a:r>
              <a:rPr lang="da-DK" sz="2800" noProof="0"/>
              <a:t> i nystiftede virksomheder drevet af stigning i anpartsselskaber</a:t>
            </a:r>
          </a:p>
        </p:txBody>
      </p:sp>
      <p:sp>
        <p:nvSpPr>
          <p:cNvPr id="3" name="Text Placeholder 2">
            <a:extLst>
              <a:ext uri="{FF2B5EF4-FFF2-40B4-BE49-F238E27FC236}">
                <a16:creationId xmlns:a16="http://schemas.microsoft.com/office/drawing/2014/main" id="{876E149D-ACB5-BDB7-90F3-E02EA407031B}"/>
              </a:ext>
            </a:extLst>
          </p:cNvPr>
          <p:cNvSpPr>
            <a:spLocks noGrp="1"/>
          </p:cNvSpPr>
          <p:nvPr>
            <p:ph type="body" sz="quarter" idx="14"/>
          </p:nvPr>
        </p:nvSpPr>
        <p:spPr/>
        <p:txBody>
          <a:bodyPr/>
          <a:lstStyle/>
          <a:p>
            <a:r>
              <a:rPr lang="da-DK" noProof="0"/>
              <a:t>Nystiftede virksomheder</a:t>
            </a:r>
          </a:p>
        </p:txBody>
      </p:sp>
      <p:cxnSp>
        <p:nvCxnSpPr>
          <p:cNvPr id="6" name="Straight Connector 5">
            <a:extLst>
              <a:ext uri="{FF2B5EF4-FFF2-40B4-BE49-F238E27FC236}">
                <a16:creationId xmlns:a16="http://schemas.microsoft.com/office/drawing/2014/main" id="{4AA4CAAD-B7D5-37EE-3682-52B82EF2DA7C}"/>
              </a:ext>
            </a:extLst>
          </p:cNvPr>
          <p:cNvCxnSpPr>
            <a:cxnSpLocks/>
          </p:cNvCxnSpPr>
          <p:nvPr/>
        </p:nvCxnSpPr>
        <p:spPr>
          <a:xfrm>
            <a:off x="431798" y="2168525"/>
            <a:ext cx="84169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7B821D-AB18-59B0-F4B5-B7EFDDF71686}"/>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Stigning i antal nystiftede virksomheder</a:t>
            </a:r>
            <a:r>
              <a:rPr lang="da-DK" sz="1000" noProof="0"/>
              <a:t>: </a:t>
            </a:r>
            <a:r>
              <a:rPr lang="da-DK" sz="1000" b="0" noProof="0"/>
              <a:t>37.668 nye virksomheder blev registreret i 2025.</a:t>
            </a:r>
          </a:p>
          <a:p>
            <a:endParaRPr lang="da-DK" sz="1000"/>
          </a:p>
          <a:p>
            <a:r>
              <a:rPr lang="da-DK" sz="1000" noProof="0"/>
              <a:t>Højeste niveau siden 2021: </a:t>
            </a:r>
            <a:r>
              <a:rPr lang="da-DK" sz="1000" b="0" noProof="0"/>
              <a:t>9% stigning fra 2024.</a:t>
            </a:r>
          </a:p>
          <a:p>
            <a:pPr marL="0" indent="0">
              <a:buNone/>
            </a:pPr>
            <a:endParaRPr lang="da-DK" sz="1000" noProof="0"/>
          </a:p>
          <a:p>
            <a:r>
              <a:rPr lang="da-DK" sz="1000" noProof="0"/>
              <a:t>Anpartsselskaber mere populære: </a:t>
            </a:r>
            <a:r>
              <a:rPr lang="da-DK" sz="1000" b="0" noProof="0"/>
              <a:t>Anpartsselskaber steg til 49% af </a:t>
            </a:r>
            <a:r>
              <a:rPr lang="da-DK" sz="1000" b="0" noProof="0" err="1"/>
              <a:t>nyregistreringer</a:t>
            </a:r>
            <a:r>
              <a:rPr lang="da-DK" sz="1000" b="0" noProof="0"/>
              <a:t>, mens enkeltmandsvirksomheder faldt tilsvarende.</a:t>
            </a:r>
          </a:p>
          <a:p>
            <a:endParaRPr lang="da-DK" sz="1000" b="0" noProof="0"/>
          </a:p>
          <a:p>
            <a:r>
              <a:rPr lang="da-DK" sz="1000" noProof="0"/>
              <a:t>Stabil fordeling forskydes: </a:t>
            </a:r>
            <a:r>
              <a:rPr lang="da-DK" sz="1000" b="0" noProof="0"/>
              <a:t>Selskabsfordelingen ændrede sig efter flere år med stabilitet.</a:t>
            </a:r>
          </a:p>
          <a:p>
            <a:endParaRPr lang="da-DK" sz="1000"/>
          </a:p>
          <a:p>
            <a:r>
              <a:rPr lang="da-DK" sz="1000"/>
              <a:t>Iværksætterpakken har sænket adgangsbarrieren: </a:t>
            </a:r>
            <a:r>
              <a:rPr lang="da-DK" sz="1000" b="0" noProof="0"/>
              <a:t>En af ambitionerne bag iværksætterpakken var at gøre det lettere at drive erhverv i selskabsform for iværksættere. Fremgang i stiftede anpartsselskaber fra 2024 til 2025 indikerer, at det reducerede kapitalkrav har haft en effekt.</a:t>
            </a:r>
          </a:p>
        </p:txBody>
      </p:sp>
      <p:graphicFrame>
        <p:nvGraphicFramePr>
          <p:cNvPr id="16" name="Chart 15">
            <a:extLst>
              <a:ext uri="{FF2B5EF4-FFF2-40B4-BE49-F238E27FC236}">
                <a16:creationId xmlns:a16="http://schemas.microsoft.com/office/drawing/2014/main" id="{F0EF31D6-B2E4-1E90-56E0-50E863291F91}"/>
              </a:ext>
            </a:extLst>
          </p:cNvPr>
          <p:cNvGraphicFramePr/>
          <p:nvPr>
            <p:custDataLst>
              <p:tags r:id="rId3"/>
            </p:custDataLst>
            <p:extLst>
              <p:ext uri="{D42A27DB-BD31-4B8C-83A1-F6EECF244321}">
                <p14:modId xmlns:p14="http://schemas.microsoft.com/office/powerpoint/2010/main" val="855997591"/>
              </p:ext>
            </p:extLst>
          </p:nvPr>
        </p:nvGraphicFramePr>
        <p:xfrm>
          <a:off x="349250" y="2809875"/>
          <a:ext cx="5849938" cy="3376613"/>
        </p:xfrm>
        <a:graphic>
          <a:graphicData uri="http://schemas.openxmlformats.org/drawingml/2006/chart">
            <c:chart xmlns:c="http://schemas.openxmlformats.org/drawingml/2006/chart" xmlns:r="http://schemas.openxmlformats.org/officeDocument/2006/relationships" r:id="rId50"/>
          </a:graphicData>
        </a:graphic>
      </p:graphicFrame>
      <p:cxnSp>
        <p:nvCxnSpPr>
          <p:cNvPr id="7" name="Straight Connector 6">
            <a:extLst>
              <a:ext uri="{FF2B5EF4-FFF2-40B4-BE49-F238E27FC236}">
                <a16:creationId xmlns:a16="http://schemas.microsoft.com/office/drawing/2014/main" id="{189FB118-A456-0CBF-784D-BC83B2A558A8}"/>
              </a:ext>
            </a:extLst>
          </p:cNvPr>
          <p:cNvCxnSpPr/>
          <p:nvPr>
            <p:custDataLst>
              <p:tags r:id="rId4"/>
            </p:custDataLst>
          </p:nvPr>
        </p:nvCxnSpPr>
        <p:spPr bwMode="auto">
          <a:xfrm flipV="1">
            <a:off x="4411663" y="2914650"/>
            <a:ext cx="0" cy="3905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881CD58-BB7F-618B-21A9-335F2509CC62}"/>
              </a:ext>
            </a:extLst>
          </p:cNvPr>
          <p:cNvCxnSpPr/>
          <p:nvPr>
            <p:custDataLst>
              <p:tags r:id="rId5"/>
            </p:custDataLst>
          </p:nvPr>
        </p:nvCxnSpPr>
        <p:spPr bwMode="auto">
          <a:xfrm>
            <a:off x="4411663" y="2914650"/>
            <a:ext cx="11366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4EEA44F-5657-9D7A-9BA1-088F37E87665}"/>
              </a:ext>
            </a:extLst>
          </p:cNvPr>
          <p:cNvCxnSpPr/>
          <p:nvPr>
            <p:custDataLst>
              <p:tags r:id="rId6"/>
            </p:custDataLst>
          </p:nvPr>
        </p:nvCxnSpPr>
        <p:spPr bwMode="auto">
          <a:xfrm>
            <a:off x="5548313" y="29146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2">
            <a:extLst>
              <a:ext uri="{FF2B5EF4-FFF2-40B4-BE49-F238E27FC236}">
                <a16:creationId xmlns:a16="http://schemas.microsoft.com/office/drawing/2014/main" id="{B6848CA7-1072-F1FB-C527-2FC5964FBEF4}"/>
              </a:ext>
            </a:extLst>
          </p:cNvPr>
          <p:cNvSpPr>
            <a:spLocks noGrp="1"/>
          </p:cNvSpPr>
          <p:nvPr>
            <p:custDataLst>
              <p:tags r:id="rId7"/>
            </p:custDataLst>
          </p:nvPr>
        </p:nvSpPr>
        <p:spPr bwMode="gray">
          <a:xfrm>
            <a:off x="854075" y="51577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A2903D-DF9F-46B0-A3A0-B9C370BF0237}" type="datetime'''''''''''''5''''''''''''5''''%'''''''''''''''''''''''''''">
              <a:rPr lang="da-DK" sz="1000" noProof="0" smtClean="0">
                <a:latin typeface="+mn-lt"/>
              </a:rPr>
              <a:pPr marL="0" indent="0" algn="ctr">
                <a:spcBef>
                  <a:spcPct val="0"/>
                </a:spcBef>
                <a:spcAft>
                  <a:spcPct val="0"/>
                </a:spcAft>
                <a:buNone/>
              </a:pPr>
              <a:t>55%</a:t>
            </a:fld>
            <a:endParaRPr lang="da-DK" sz="1000" noProof="0">
              <a:latin typeface="+mn-lt"/>
            </a:endParaRPr>
          </a:p>
        </p:txBody>
      </p:sp>
      <p:sp>
        <p:nvSpPr>
          <p:cNvPr id="13" name="Text Placeholder 2">
            <a:extLst>
              <a:ext uri="{FF2B5EF4-FFF2-40B4-BE49-F238E27FC236}">
                <a16:creationId xmlns:a16="http://schemas.microsoft.com/office/drawing/2014/main" id="{180B44FB-6F11-AB56-FDF8-1C4194ABB81A}"/>
              </a:ext>
            </a:extLst>
          </p:cNvPr>
          <p:cNvSpPr>
            <a:spLocks noGrp="1"/>
          </p:cNvSpPr>
          <p:nvPr>
            <p:custDataLst>
              <p:tags r:id="rId8"/>
            </p:custDataLst>
          </p:nvPr>
        </p:nvSpPr>
        <p:spPr bwMode="gray">
          <a:xfrm>
            <a:off x="854075" y="3579813"/>
            <a:ext cx="293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6E7EEE-00B4-4C80-9124-A51047CB2F56}" type="datetime'''''''''''''''''''''''''''4''''''4''''''''''%'''''">
              <a:rPr lang="da-DK" sz="1000" noProof="0" smtClean="0">
                <a:latin typeface="+mn-lt"/>
              </a:rPr>
              <a:pPr marL="0" indent="0" algn="ctr">
                <a:spcBef>
                  <a:spcPct val="0"/>
                </a:spcBef>
                <a:spcAft>
                  <a:spcPct val="0"/>
                </a:spcAft>
                <a:buNone/>
              </a:pPr>
              <a:t>44%</a:t>
            </a:fld>
            <a:endParaRPr lang="da-DK" sz="1000" noProof="0">
              <a:latin typeface="+mn-lt"/>
            </a:endParaRPr>
          </a:p>
        </p:txBody>
      </p:sp>
      <p:sp>
        <p:nvSpPr>
          <p:cNvPr id="14" name="Text Placeholder 2">
            <a:extLst>
              <a:ext uri="{FF2B5EF4-FFF2-40B4-BE49-F238E27FC236}">
                <a16:creationId xmlns:a16="http://schemas.microsoft.com/office/drawing/2014/main" id="{B85B9610-6913-F1B7-A274-8C89A86662E9}"/>
              </a:ext>
            </a:extLst>
          </p:cNvPr>
          <p:cNvSpPr>
            <a:spLocks noGrp="1"/>
          </p:cNvSpPr>
          <p:nvPr>
            <p:custDataLst>
              <p:tags r:id="rId9"/>
            </p:custDataLst>
          </p:nvPr>
        </p:nvSpPr>
        <p:spPr bwMode="gray">
          <a:xfrm>
            <a:off x="892175" y="2851150"/>
            <a:ext cx="217488"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6AD6EA-E332-4293-A2DB-EDB018AC8EC6}" type="datetime'''''''''''''''2''''''''''''%'''''''''''''">
              <a:rPr lang="da-DK" sz="1000" noProof="0" smtClean="0">
                <a:solidFill>
                  <a:schemeClr val="bg1"/>
                </a:solidFill>
                <a:effectLst/>
                <a:latin typeface="+mn-lt"/>
              </a:rPr>
              <a:pPr marL="0" indent="0" algn="ctr">
                <a:spcBef>
                  <a:spcPct val="0"/>
                </a:spcBef>
                <a:spcAft>
                  <a:spcPct val="0"/>
                </a:spcAft>
                <a:buNone/>
              </a:pPr>
              <a:t>2%</a:t>
            </a:fld>
            <a:endParaRPr lang="da-DK" sz="1000" noProof="0">
              <a:solidFill>
                <a:schemeClr val="bg1"/>
              </a:solidFill>
              <a:latin typeface="+mn-lt"/>
            </a:endParaRPr>
          </a:p>
        </p:txBody>
      </p:sp>
      <p:sp>
        <p:nvSpPr>
          <p:cNvPr id="15" name="Text Placeholder 2">
            <a:extLst>
              <a:ext uri="{FF2B5EF4-FFF2-40B4-BE49-F238E27FC236}">
                <a16:creationId xmlns:a16="http://schemas.microsoft.com/office/drawing/2014/main" id="{F189516C-0999-945C-21AB-9CA32B8AB9F5}"/>
              </a:ext>
            </a:extLst>
          </p:cNvPr>
          <p:cNvSpPr>
            <a:spLocks noGrp="1"/>
          </p:cNvSpPr>
          <p:nvPr>
            <p:custDataLst>
              <p:tags r:id="rId10"/>
            </p:custDataLst>
          </p:nvPr>
        </p:nvSpPr>
        <p:spPr bwMode="auto">
          <a:xfrm>
            <a:off x="841375" y="6146800"/>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9B97D2-3D4A-414C-8567-4069EC567280}" type="datetime'''''20''''''''''''''''2''''''''''''''''''''1'''''''''''''''">
              <a:rPr lang="da-DK" sz="1000" noProof="0" smtClean="0">
                <a:latin typeface="+mn-lt"/>
              </a:rPr>
              <a:pPr marL="0" indent="0" algn="ctr">
                <a:spcBef>
                  <a:spcPct val="0"/>
                </a:spcBef>
                <a:spcAft>
                  <a:spcPct val="0"/>
                </a:spcAft>
                <a:buNone/>
              </a:pPr>
              <a:t>2021</a:t>
            </a:fld>
            <a:endParaRPr lang="da-DK" sz="1000" noProof="0">
              <a:latin typeface="+mn-lt"/>
            </a:endParaRPr>
          </a:p>
        </p:txBody>
      </p:sp>
      <p:sp>
        <p:nvSpPr>
          <p:cNvPr id="19" name="Text Placeholder 2">
            <a:extLst>
              <a:ext uri="{FF2B5EF4-FFF2-40B4-BE49-F238E27FC236}">
                <a16:creationId xmlns:a16="http://schemas.microsoft.com/office/drawing/2014/main" id="{BCF069CB-00AB-003B-EE9F-E217E9EB29D7}"/>
              </a:ext>
            </a:extLst>
          </p:cNvPr>
          <p:cNvSpPr>
            <a:spLocks noGrp="1"/>
          </p:cNvSpPr>
          <p:nvPr>
            <p:custDataLst>
              <p:tags r:id="rId11"/>
            </p:custDataLst>
          </p:nvPr>
        </p:nvSpPr>
        <p:spPr bwMode="gray">
          <a:xfrm>
            <a:off x="1990725" y="525780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1A8062-4B3B-457C-A835-EF249F41630B}" type="datetime'''''''5''''''7''''''''%'''''''''''''''''''''''''''''''''''''''">
              <a:rPr lang="da-DK" sz="1000" noProof="0" smtClean="0">
                <a:latin typeface="+mn-lt"/>
              </a:rPr>
              <a:pPr marL="0" indent="0" algn="ctr">
                <a:spcBef>
                  <a:spcPct val="0"/>
                </a:spcBef>
                <a:spcAft>
                  <a:spcPct val="0"/>
                </a:spcAft>
                <a:buNone/>
              </a:pPr>
              <a:t>57%</a:t>
            </a:fld>
            <a:endParaRPr lang="da-DK" sz="1000" noProof="0">
              <a:latin typeface="+mn-lt"/>
            </a:endParaRPr>
          </a:p>
        </p:txBody>
      </p:sp>
      <p:sp>
        <p:nvSpPr>
          <p:cNvPr id="20" name="Text Placeholder 2">
            <a:extLst>
              <a:ext uri="{FF2B5EF4-FFF2-40B4-BE49-F238E27FC236}">
                <a16:creationId xmlns:a16="http://schemas.microsoft.com/office/drawing/2014/main" id="{43D020B7-2EAD-5412-FF1F-DD585BB83381}"/>
              </a:ext>
            </a:extLst>
          </p:cNvPr>
          <p:cNvSpPr>
            <a:spLocks noGrp="1"/>
          </p:cNvSpPr>
          <p:nvPr>
            <p:custDataLst>
              <p:tags r:id="rId12"/>
            </p:custDataLst>
          </p:nvPr>
        </p:nvSpPr>
        <p:spPr bwMode="gray">
          <a:xfrm>
            <a:off x="1990725" y="3906838"/>
            <a:ext cx="293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351DEE-9E51-4DBD-B734-D19C1E71A7D1}" type="datetime'''4''''''''''2''''''''''''''''%'''''''''''">
              <a:rPr lang="da-DK" sz="1000" noProof="0" smtClean="0">
                <a:latin typeface="+mn-lt"/>
              </a:rPr>
              <a:pPr marL="0" indent="0" algn="ctr">
                <a:spcBef>
                  <a:spcPct val="0"/>
                </a:spcBef>
                <a:spcAft>
                  <a:spcPct val="0"/>
                </a:spcAft>
                <a:buNone/>
              </a:pPr>
              <a:t>42%</a:t>
            </a:fld>
            <a:endParaRPr lang="da-DK" sz="1000" noProof="0">
              <a:latin typeface="+mn-lt"/>
            </a:endParaRPr>
          </a:p>
        </p:txBody>
      </p:sp>
      <p:sp>
        <p:nvSpPr>
          <p:cNvPr id="21" name="Text Placeholder 2">
            <a:extLst>
              <a:ext uri="{FF2B5EF4-FFF2-40B4-BE49-F238E27FC236}">
                <a16:creationId xmlns:a16="http://schemas.microsoft.com/office/drawing/2014/main" id="{64E3C33B-91EB-1E27-6F9F-EBAE7F635069}"/>
              </a:ext>
            </a:extLst>
          </p:cNvPr>
          <p:cNvSpPr>
            <a:spLocks noGrp="1"/>
          </p:cNvSpPr>
          <p:nvPr>
            <p:custDataLst>
              <p:tags r:id="rId13"/>
            </p:custDataLst>
          </p:nvPr>
        </p:nvSpPr>
        <p:spPr bwMode="gray">
          <a:xfrm>
            <a:off x="2028825" y="3313113"/>
            <a:ext cx="217488"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42D037-3980-4499-A7C1-AC9619AA971A}" type="datetime'''''''''1''''''''''''''''''''''''''''''''''''%'''''''''''''">
              <a:rPr lang="da-DK" sz="1000" noProof="0" smtClean="0">
                <a:solidFill>
                  <a:schemeClr val="bg1"/>
                </a:solidFill>
                <a:effectLst/>
                <a:latin typeface="+mn-lt"/>
              </a:rPr>
              <a:pPr marL="0" indent="0" algn="ctr">
                <a:spcBef>
                  <a:spcPct val="0"/>
                </a:spcBef>
                <a:spcAft>
                  <a:spcPct val="0"/>
                </a:spcAft>
                <a:buNone/>
              </a:pPr>
              <a:t>1%</a:t>
            </a:fld>
            <a:endParaRPr lang="da-DK" sz="1000" noProof="0">
              <a:solidFill>
                <a:schemeClr val="bg1"/>
              </a:solidFill>
              <a:latin typeface="+mn-lt"/>
            </a:endParaRPr>
          </a:p>
        </p:txBody>
      </p:sp>
      <p:sp>
        <p:nvSpPr>
          <p:cNvPr id="22" name="Text Placeholder 2">
            <a:extLst>
              <a:ext uri="{FF2B5EF4-FFF2-40B4-BE49-F238E27FC236}">
                <a16:creationId xmlns:a16="http://schemas.microsoft.com/office/drawing/2014/main" id="{99CE923B-33A3-F2A9-35AC-97902D3B234F}"/>
              </a:ext>
            </a:extLst>
          </p:cNvPr>
          <p:cNvSpPr>
            <a:spLocks noGrp="1"/>
          </p:cNvSpPr>
          <p:nvPr>
            <p:custDataLst>
              <p:tags r:id="rId14"/>
            </p:custDataLst>
          </p:nvPr>
        </p:nvSpPr>
        <p:spPr bwMode="auto">
          <a:xfrm>
            <a:off x="1978025" y="6146800"/>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9AF239-1E58-45A8-B8F4-9390136412B2}" type="datetime'''''''''''''2''''''''''0''''''''''''''''2''2'''''''''''">
              <a:rPr lang="da-DK" sz="1000" noProof="0" smtClean="0">
                <a:latin typeface="+mn-lt"/>
              </a:rPr>
              <a:pPr marL="0" indent="0" algn="ctr">
                <a:spcBef>
                  <a:spcPct val="0"/>
                </a:spcBef>
                <a:spcAft>
                  <a:spcPct val="0"/>
                </a:spcAft>
                <a:buNone/>
              </a:pPr>
              <a:t>2022</a:t>
            </a:fld>
            <a:endParaRPr lang="da-DK" sz="1000" noProof="0">
              <a:latin typeface="+mn-lt"/>
            </a:endParaRPr>
          </a:p>
        </p:txBody>
      </p:sp>
      <p:sp>
        <p:nvSpPr>
          <p:cNvPr id="23" name="Text Placeholder 2">
            <a:extLst>
              <a:ext uri="{FF2B5EF4-FFF2-40B4-BE49-F238E27FC236}">
                <a16:creationId xmlns:a16="http://schemas.microsoft.com/office/drawing/2014/main" id="{40D6C5AA-A43D-59CB-5C01-00597459E9C7}"/>
              </a:ext>
            </a:extLst>
          </p:cNvPr>
          <p:cNvSpPr>
            <a:spLocks noGrp="1"/>
          </p:cNvSpPr>
          <p:nvPr>
            <p:custDataLst>
              <p:tags r:id="rId15"/>
            </p:custDataLst>
          </p:nvPr>
        </p:nvSpPr>
        <p:spPr bwMode="gray">
          <a:xfrm>
            <a:off x="3127375" y="53149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3CC61D-BF29-4478-9F4E-2E2CB7C2A4ED}" type="datetime'''''5''6''''''''''''''''''''''%'''''''''">
              <a:rPr lang="da-DK" sz="1000" noProof="0" smtClean="0">
                <a:latin typeface="+mn-lt"/>
              </a:rPr>
              <a:pPr marL="0" indent="0" algn="ctr">
                <a:spcBef>
                  <a:spcPct val="0"/>
                </a:spcBef>
                <a:spcAft>
                  <a:spcPct val="0"/>
                </a:spcAft>
                <a:buNone/>
              </a:pPr>
              <a:t>56%</a:t>
            </a:fld>
            <a:endParaRPr lang="da-DK" sz="1000" noProof="0">
              <a:latin typeface="+mn-lt"/>
            </a:endParaRPr>
          </a:p>
        </p:txBody>
      </p:sp>
      <p:sp>
        <p:nvSpPr>
          <p:cNvPr id="24" name="Text Placeholder 2">
            <a:extLst>
              <a:ext uri="{FF2B5EF4-FFF2-40B4-BE49-F238E27FC236}">
                <a16:creationId xmlns:a16="http://schemas.microsoft.com/office/drawing/2014/main" id="{DFBE81B6-561E-7FAB-6623-23D7A4D3A116}"/>
              </a:ext>
            </a:extLst>
          </p:cNvPr>
          <p:cNvSpPr>
            <a:spLocks noGrp="1"/>
          </p:cNvSpPr>
          <p:nvPr>
            <p:custDataLst>
              <p:tags r:id="rId16"/>
            </p:custDataLst>
          </p:nvPr>
        </p:nvSpPr>
        <p:spPr bwMode="gray">
          <a:xfrm>
            <a:off x="3127375" y="4043363"/>
            <a:ext cx="293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FBDED6-3BDF-4572-8546-9F56CE4913DD}" type="datetime'''''4''''''''3''''''''%'''''''''''''''">
              <a:rPr lang="da-DK" sz="1000" noProof="0" smtClean="0">
                <a:latin typeface="+mn-lt"/>
              </a:rPr>
              <a:pPr marL="0" indent="0" algn="ctr">
                <a:spcBef>
                  <a:spcPct val="0"/>
                </a:spcBef>
                <a:spcAft>
                  <a:spcPct val="0"/>
                </a:spcAft>
                <a:buNone/>
              </a:pPr>
              <a:t>43%</a:t>
            </a:fld>
            <a:endParaRPr lang="da-DK" sz="1000" noProof="0">
              <a:latin typeface="+mn-lt"/>
            </a:endParaRPr>
          </a:p>
        </p:txBody>
      </p:sp>
      <p:sp>
        <p:nvSpPr>
          <p:cNvPr id="25" name="Text Placeholder 2">
            <a:extLst>
              <a:ext uri="{FF2B5EF4-FFF2-40B4-BE49-F238E27FC236}">
                <a16:creationId xmlns:a16="http://schemas.microsoft.com/office/drawing/2014/main" id="{6B9B7CEC-FDC9-D0B2-034A-82EB0342BDD0}"/>
              </a:ext>
            </a:extLst>
          </p:cNvPr>
          <p:cNvSpPr>
            <a:spLocks noGrp="1"/>
          </p:cNvSpPr>
          <p:nvPr>
            <p:custDataLst>
              <p:tags r:id="rId17"/>
            </p:custDataLst>
          </p:nvPr>
        </p:nvSpPr>
        <p:spPr bwMode="gray">
          <a:xfrm>
            <a:off x="3165475" y="3476625"/>
            <a:ext cx="217488"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0C8E57-409C-45B2-AB34-3EB789FD056F}" type="datetime'''''''''''''''''''''''1''''''''''''''''''''''''''''''%'''">
              <a:rPr lang="da-DK" sz="1000" noProof="0" smtClean="0">
                <a:solidFill>
                  <a:schemeClr val="bg1"/>
                </a:solidFill>
                <a:effectLst/>
                <a:latin typeface="+mn-lt"/>
              </a:rPr>
              <a:pPr marL="0" indent="0" algn="ctr">
                <a:spcBef>
                  <a:spcPct val="0"/>
                </a:spcBef>
                <a:spcAft>
                  <a:spcPct val="0"/>
                </a:spcAft>
                <a:buNone/>
              </a:pPr>
              <a:t>1%</a:t>
            </a:fld>
            <a:endParaRPr lang="da-DK" sz="1000" noProof="0">
              <a:solidFill>
                <a:schemeClr val="bg1"/>
              </a:solidFill>
              <a:latin typeface="+mn-lt"/>
            </a:endParaRPr>
          </a:p>
        </p:txBody>
      </p:sp>
      <p:sp>
        <p:nvSpPr>
          <p:cNvPr id="26" name="Text Placeholder 2">
            <a:extLst>
              <a:ext uri="{FF2B5EF4-FFF2-40B4-BE49-F238E27FC236}">
                <a16:creationId xmlns:a16="http://schemas.microsoft.com/office/drawing/2014/main" id="{0A745074-FAE4-587C-7AB5-4D7743D38706}"/>
              </a:ext>
            </a:extLst>
          </p:cNvPr>
          <p:cNvSpPr>
            <a:spLocks noGrp="1"/>
          </p:cNvSpPr>
          <p:nvPr>
            <p:custDataLst>
              <p:tags r:id="rId18"/>
            </p:custDataLst>
          </p:nvPr>
        </p:nvSpPr>
        <p:spPr bwMode="auto">
          <a:xfrm>
            <a:off x="3114675" y="6146800"/>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E7F576-8825-4BD8-B776-12AB832C901E}" type="datetime'''2''''''''''0''''''2''3'''''''">
              <a:rPr lang="da-DK" sz="1000" noProof="0" smtClean="0">
                <a:latin typeface="+mn-lt"/>
              </a:rPr>
              <a:pPr marL="0" indent="0" algn="ctr">
                <a:spcBef>
                  <a:spcPct val="0"/>
                </a:spcBef>
                <a:spcAft>
                  <a:spcPct val="0"/>
                </a:spcAft>
                <a:buNone/>
              </a:pPr>
              <a:t>2023</a:t>
            </a:fld>
            <a:endParaRPr lang="da-DK" sz="1000" noProof="0">
              <a:latin typeface="+mn-lt"/>
            </a:endParaRPr>
          </a:p>
        </p:txBody>
      </p:sp>
      <p:sp>
        <p:nvSpPr>
          <p:cNvPr id="27" name="Text Placeholder 2">
            <a:extLst>
              <a:ext uri="{FF2B5EF4-FFF2-40B4-BE49-F238E27FC236}">
                <a16:creationId xmlns:a16="http://schemas.microsoft.com/office/drawing/2014/main" id="{1F4DF18B-A454-E9A2-8004-78C1E7010977}"/>
              </a:ext>
            </a:extLst>
          </p:cNvPr>
          <p:cNvSpPr>
            <a:spLocks noGrp="1"/>
          </p:cNvSpPr>
          <p:nvPr>
            <p:custDataLst>
              <p:tags r:id="rId19"/>
            </p:custDataLst>
          </p:nvPr>
        </p:nvSpPr>
        <p:spPr bwMode="gray">
          <a:xfrm>
            <a:off x="4265613" y="532606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9B11832-8D36-42A9-8183-DD8AAE04EF7F}" type="datetime'''''''''''''''''''5''''''''''''''''''''5''%'''''''''''">
              <a:rPr lang="da-DK" sz="1000" noProof="0" smtClean="0">
                <a:latin typeface="+mn-lt"/>
              </a:rPr>
              <a:pPr marL="0" indent="0" algn="ctr">
                <a:spcBef>
                  <a:spcPct val="0"/>
                </a:spcBef>
                <a:spcAft>
                  <a:spcPct val="0"/>
                </a:spcAft>
                <a:buNone/>
              </a:pPr>
              <a:t>55%</a:t>
            </a:fld>
            <a:endParaRPr lang="da-DK" sz="1000" noProof="0">
              <a:latin typeface="+mn-lt"/>
            </a:endParaRPr>
          </a:p>
        </p:txBody>
      </p:sp>
      <p:sp>
        <p:nvSpPr>
          <p:cNvPr id="28" name="Text Placeholder 2">
            <a:extLst>
              <a:ext uri="{FF2B5EF4-FFF2-40B4-BE49-F238E27FC236}">
                <a16:creationId xmlns:a16="http://schemas.microsoft.com/office/drawing/2014/main" id="{62800EA9-2C71-9760-1BA4-4E72A00BCA4F}"/>
              </a:ext>
            </a:extLst>
          </p:cNvPr>
          <p:cNvSpPr>
            <a:spLocks noGrp="1"/>
          </p:cNvSpPr>
          <p:nvPr>
            <p:custDataLst>
              <p:tags r:id="rId20"/>
            </p:custDataLst>
          </p:nvPr>
        </p:nvSpPr>
        <p:spPr bwMode="gray">
          <a:xfrm>
            <a:off x="4265613" y="4056063"/>
            <a:ext cx="293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FD9241-646D-4E7F-B3DE-0A6A9AF686EB}" type="datetime'''''''''4''''4''''''''''''''''''''''''''''''%'''''''">
              <a:rPr lang="da-DK" sz="1000" noProof="0" smtClean="0">
                <a:latin typeface="+mn-lt"/>
              </a:rPr>
              <a:pPr marL="0" indent="0" algn="ctr">
                <a:spcBef>
                  <a:spcPct val="0"/>
                </a:spcBef>
                <a:spcAft>
                  <a:spcPct val="0"/>
                </a:spcAft>
                <a:buNone/>
              </a:pPr>
              <a:t>44%</a:t>
            </a:fld>
            <a:endParaRPr lang="da-DK" sz="1000" noProof="0">
              <a:latin typeface="+mn-lt"/>
            </a:endParaRPr>
          </a:p>
        </p:txBody>
      </p:sp>
      <p:sp>
        <p:nvSpPr>
          <p:cNvPr id="29" name="Text Placeholder 2">
            <a:extLst>
              <a:ext uri="{FF2B5EF4-FFF2-40B4-BE49-F238E27FC236}">
                <a16:creationId xmlns:a16="http://schemas.microsoft.com/office/drawing/2014/main" id="{6B3C31AC-5D62-66FB-32BD-F6B2B085A6A5}"/>
              </a:ext>
            </a:extLst>
          </p:cNvPr>
          <p:cNvSpPr>
            <a:spLocks noGrp="1"/>
          </p:cNvSpPr>
          <p:nvPr>
            <p:custDataLst>
              <p:tags r:id="rId21"/>
            </p:custDataLst>
          </p:nvPr>
        </p:nvSpPr>
        <p:spPr bwMode="gray">
          <a:xfrm>
            <a:off x="4303713" y="3479800"/>
            <a:ext cx="217488"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74485E-C27E-4C8F-B926-717FE144C04C}" type="datetime'''''''''''''''''''''''''1%'''''''''''''''''''''''''''''''">
              <a:rPr lang="da-DK" sz="1000" noProof="0" smtClean="0">
                <a:solidFill>
                  <a:schemeClr val="bg1"/>
                </a:solidFill>
                <a:effectLst/>
                <a:latin typeface="+mn-lt"/>
              </a:rPr>
              <a:pPr marL="0" indent="0" algn="ctr">
                <a:spcBef>
                  <a:spcPct val="0"/>
                </a:spcBef>
                <a:spcAft>
                  <a:spcPct val="0"/>
                </a:spcAft>
                <a:buNone/>
              </a:pPr>
              <a:t>1%</a:t>
            </a:fld>
            <a:endParaRPr lang="da-DK" sz="1000" noProof="0">
              <a:solidFill>
                <a:schemeClr val="bg1"/>
              </a:solidFill>
              <a:latin typeface="+mn-lt"/>
            </a:endParaRPr>
          </a:p>
        </p:txBody>
      </p:sp>
      <p:sp>
        <p:nvSpPr>
          <p:cNvPr id="30" name="Text Placeholder 2">
            <a:extLst>
              <a:ext uri="{FF2B5EF4-FFF2-40B4-BE49-F238E27FC236}">
                <a16:creationId xmlns:a16="http://schemas.microsoft.com/office/drawing/2014/main" id="{FB7991D7-452B-338E-9F4B-351C02A1153E}"/>
              </a:ext>
            </a:extLst>
          </p:cNvPr>
          <p:cNvSpPr>
            <a:spLocks noGrp="1"/>
          </p:cNvSpPr>
          <p:nvPr>
            <p:custDataLst>
              <p:tags r:id="rId22"/>
            </p:custDataLst>
          </p:nvPr>
        </p:nvSpPr>
        <p:spPr bwMode="auto">
          <a:xfrm>
            <a:off x="4252913" y="6146800"/>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989B35-6D1E-4085-98D6-3AECB7EDBA1C}" type="datetime'''2''0''''''2''''''''''''''''''''''4'">
              <a:rPr lang="da-DK" sz="1000" noProof="0" smtClean="0">
                <a:latin typeface="+mn-lt"/>
              </a:rPr>
              <a:pPr marL="0" indent="0" algn="ctr">
                <a:spcBef>
                  <a:spcPct val="0"/>
                </a:spcBef>
                <a:spcAft>
                  <a:spcPct val="0"/>
                </a:spcAft>
                <a:buNone/>
              </a:pPr>
              <a:t>2024</a:t>
            </a:fld>
            <a:endParaRPr lang="da-DK" sz="1000" noProof="0">
              <a:latin typeface="+mn-lt"/>
            </a:endParaRPr>
          </a:p>
        </p:txBody>
      </p:sp>
      <p:sp>
        <p:nvSpPr>
          <p:cNvPr id="31" name="Text Placeholder 2">
            <a:extLst>
              <a:ext uri="{FF2B5EF4-FFF2-40B4-BE49-F238E27FC236}">
                <a16:creationId xmlns:a16="http://schemas.microsoft.com/office/drawing/2014/main" id="{757C398D-06DC-D419-320A-1DED8D74A0BE}"/>
              </a:ext>
            </a:extLst>
          </p:cNvPr>
          <p:cNvSpPr>
            <a:spLocks noGrp="1"/>
          </p:cNvSpPr>
          <p:nvPr>
            <p:custDataLst>
              <p:tags r:id="rId23"/>
            </p:custDataLst>
          </p:nvPr>
        </p:nvSpPr>
        <p:spPr bwMode="gray">
          <a:xfrm>
            <a:off x="5402263" y="53308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3E474F-3D3C-4CD8-A36B-92D86110757A}" type="datetime'''''''''''''50%'''''''''''''''''''''''''''''''''''''">
              <a:rPr lang="da-DK" sz="1000" noProof="0" smtClean="0">
                <a:latin typeface="+mn-lt"/>
              </a:rPr>
              <a:pPr marL="0" indent="0" algn="ctr">
                <a:spcBef>
                  <a:spcPct val="0"/>
                </a:spcBef>
                <a:spcAft>
                  <a:spcPct val="0"/>
                </a:spcAft>
                <a:buNone/>
              </a:pPr>
              <a:t>50%</a:t>
            </a:fld>
            <a:endParaRPr lang="da-DK" sz="1000" noProof="0">
              <a:latin typeface="+mn-lt"/>
            </a:endParaRPr>
          </a:p>
        </p:txBody>
      </p:sp>
      <p:sp>
        <p:nvSpPr>
          <p:cNvPr id="32" name="Text Placeholder 2">
            <a:extLst>
              <a:ext uri="{FF2B5EF4-FFF2-40B4-BE49-F238E27FC236}">
                <a16:creationId xmlns:a16="http://schemas.microsoft.com/office/drawing/2014/main" id="{355810B6-54D3-71A4-D8BE-C3C14EEBFA80}"/>
              </a:ext>
            </a:extLst>
          </p:cNvPr>
          <p:cNvSpPr>
            <a:spLocks noGrp="1"/>
          </p:cNvSpPr>
          <p:nvPr>
            <p:custDataLst>
              <p:tags r:id="rId24"/>
            </p:custDataLst>
          </p:nvPr>
        </p:nvSpPr>
        <p:spPr bwMode="gray">
          <a:xfrm>
            <a:off x="5402263" y="3941763"/>
            <a:ext cx="293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8F3AD8-1445-4788-B377-40F7503BD622}" type="datetime'4''''''''''''''''''''''''''''''''''''''''''9''''''%'">
              <a:rPr lang="da-DK" sz="1000" noProof="0" smtClean="0">
                <a:latin typeface="+mn-lt"/>
              </a:rPr>
              <a:pPr marL="0" indent="0" algn="ctr">
                <a:spcBef>
                  <a:spcPct val="0"/>
                </a:spcBef>
                <a:spcAft>
                  <a:spcPct val="0"/>
                </a:spcAft>
                <a:buNone/>
              </a:pPr>
              <a:t>49%</a:t>
            </a:fld>
            <a:endParaRPr lang="da-DK" sz="1000" noProof="0">
              <a:latin typeface="+mn-lt"/>
            </a:endParaRPr>
          </a:p>
        </p:txBody>
      </p:sp>
      <p:sp>
        <p:nvSpPr>
          <p:cNvPr id="33" name="Text Placeholder 2">
            <a:extLst>
              <a:ext uri="{FF2B5EF4-FFF2-40B4-BE49-F238E27FC236}">
                <a16:creationId xmlns:a16="http://schemas.microsoft.com/office/drawing/2014/main" id="{EBB93F01-ECFA-434B-FA9C-ED63BF8473D8}"/>
              </a:ext>
            </a:extLst>
          </p:cNvPr>
          <p:cNvSpPr>
            <a:spLocks noGrp="1"/>
          </p:cNvSpPr>
          <p:nvPr>
            <p:custDataLst>
              <p:tags r:id="rId25"/>
            </p:custDataLst>
          </p:nvPr>
        </p:nvSpPr>
        <p:spPr bwMode="gray">
          <a:xfrm>
            <a:off x="5440363" y="3241675"/>
            <a:ext cx="217488"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BD56A4-98B4-43F9-8D43-148FC655B46C}" type="datetime'''''''''1''''''''''''''''''%'''''''''''''">
              <a:rPr lang="da-DK" sz="1000" noProof="0" smtClean="0">
                <a:solidFill>
                  <a:schemeClr val="bg1"/>
                </a:solidFill>
                <a:effectLst/>
                <a:latin typeface="+mn-lt"/>
              </a:rPr>
              <a:pPr marL="0" indent="0" algn="ctr">
                <a:spcBef>
                  <a:spcPct val="0"/>
                </a:spcBef>
                <a:spcAft>
                  <a:spcPct val="0"/>
                </a:spcAft>
                <a:buNone/>
              </a:pPr>
              <a:t>1%</a:t>
            </a:fld>
            <a:endParaRPr lang="da-DK" sz="1000" noProof="0">
              <a:solidFill>
                <a:schemeClr val="bg1"/>
              </a:solidFill>
              <a:latin typeface="+mn-lt"/>
            </a:endParaRPr>
          </a:p>
        </p:txBody>
      </p:sp>
      <p:sp>
        <p:nvSpPr>
          <p:cNvPr id="34" name="Text Placeholder 2">
            <a:extLst>
              <a:ext uri="{FF2B5EF4-FFF2-40B4-BE49-F238E27FC236}">
                <a16:creationId xmlns:a16="http://schemas.microsoft.com/office/drawing/2014/main" id="{467BF32D-2A5E-0110-7999-0D0AA26ABEC8}"/>
              </a:ext>
            </a:extLst>
          </p:cNvPr>
          <p:cNvSpPr>
            <a:spLocks noGrp="1"/>
          </p:cNvSpPr>
          <p:nvPr>
            <p:custDataLst>
              <p:tags r:id="rId26"/>
            </p:custDataLst>
          </p:nvPr>
        </p:nvSpPr>
        <p:spPr bwMode="auto">
          <a:xfrm>
            <a:off x="5389563" y="6146800"/>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CA3527-D0BB-4A40-AA15-87D039362956}" type="datetime'''''''''''''''''''''''20''''''''''''25'''">
              <a:rPr lang="da-DK" sz="1000" noProof="0" smtClean="0">
                <a:latin typeface="+mn-lt"/>
              </a:rPr>
              <a:pPr marL="0" indent="0" algn="ctr">
                <a:spcBef>
                  <a:spcPct val="0"/>
                </a:spcBef>
                <a:spcAft>
                  <a:spcPct val="0"/>
                </a:spcAft>
                <a:buNone/>
              </a:pPr>
              <a:t>2025</a:t>
            </a:fld>
            <a:endParaRPr lang="da-DK" sz="1000" noProof="0">
              <a:latin typeface="+mn-lt"/>
            </a:endParaRPr>
          </a:p>
        </p:txBody>
      </p:sp>
      <p:sp>
        <p:nvSpPr>
          <p:cNvPr id="105" name="Text Placeholder 2">
            <a:extLst>
              <a:ext uri="{FF2B5EF4-FFF2-40B4-BE49-F238E27FC236}">
                <a16:creationId xmlns:a16="http://schemas.microsoft.com/office/drawing/2014/main" id="{64868FF4-1882-DBC4-DF4F-0659A43A2029}"/>
              </a:ext>
            </a:extLst>
          </p:cNvPr>
          <p:cNvSpPr>
            <a:spLocks noGrp="1"/>
          </p:cNvSpPr>
          <p:nvPr>
            <p:custDataLst>
              <p:tags r:id="rId27"/>
            </p:custDataLst>
          </p:nvPr>
        </p:nvSpPr>
        <p:spPr bwMode="gray">
          <a:xfrm>
            <a:off x="777875" y="2714626"/>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489918-B648-4994-B59F-37F14E452715}" type="datetime'''''''''''''''''''''4''''3.07''''''''''7'''''''">
              <a:rPr lang="da-DK" sz="1000" b="1" noProof="0" smtClean="0">
                <a:effectLst/>
                <a:latin typeface="+mn-lt"/>
              </a:rPr>
              <a:pPr marL="0" indent="0" algn="ctr">
                <a:spcBef>
                  <a:spcPct val="0"/>
                </a:spcBef>
                <a:spcAft>
                  <a:spcPct val="0"/>
                </a:spcAft>
                <a:buNone/>
              </a:pPr>
              <a:t>43.077</a:t>
            </a:fld>
            <a:endParaRPr lang="da-DK" sz="1000" b="1" noProof="0">
              <a:latin typeface="+mn-lt"/>
            </a:endParaRPr>
          </a:p>
        </p:txBody>
      </p:sp>
      <p:sp>
        <p:nvSpPr>
          <p:cNvPr id="106" name="Text Placeholder 2">
            <a:extLst>
              <a:ext uri="{FF2B5EF4-FFF2-40B4-BE49-F238E27FC236}">
                <a16:creationId xmlns:a16="http://schemas.microsoft.com/office/drawing/2014/main" id="{0A080537-BD64-A6E4-F29F-B431763B65A8}"/>
              </a:ext>
            </a:extLst>
          </p:cNvPr>
          <p:cNvSpPr>
            <a:spLocks noGrp="1"/>
          </p:cNvSpPr>
          <p:nvPr>
            <p:custDataLst>
              <p:tags r:id="rId28"/>
            </p:custDataLst>
          </p:nvPr>
        </p:nvSpPr>
        <p:spPr bwMode="gray">
          <a:xfrm>
            <a:off x="1914525" y="3176589"/>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505B86-1040-4DC4-9B48-DD06A938531C}" type="datetime'''''''''''''36''.''''''''7''7''''2'''''''''''''''''''''''''">
              <a:rPr lang="da-DK" sz="1000" b="1" noProof="0" smtClean="0">
                <a:effectLst/>
                <a:latin typeface="+mn-lt"/>
              </a:rPr>
              <a:pPr marL="0" indent="0" algn="ctr">
                <a:spcBef>
                  <a:spcPct val="0"/>
                </a:spcBef>
                <a:spcAft>
                  <a:spcPct val="0"/>
                </a:spcAft>
                <a:buNone/>
              </a:pPr>
              <a:t>36.772</a:t>
            </a:fld>
            <a:endParaRPr lang="da-DK" sz="1000" b="1" noProof="0">
              <a:latin typeface="+mn-lt"/>
            </a:endParaRPr>
          </a:p>
        </p:txBody>
      </p:sp>
      <p:sp>
        <p:nvSpPr>
          <p:cNvPr id="107" name="Text Placeholder 2">
            <a:extLst>
              <a:ext uri="{FF2B5EF4-FFF2-40B4-BE49-F238E27FC236}">
                <a16:creationId xmlns:a16="http://schemas.microsoft.com/office/drawing/2014/main" id="{CB90043E-89AE-8C09-8CCA-5B196D577A0C}"/>
              </a:ext>
            </a:extLst>
          </p:cNvPr>
          <p:cNvSpPr>
            <a:spLocks noGrp="1"/>
          </p:cNvSpPr>
          <p:nvPr>
            <p:custDataLst>
              <p:tags r:id="rId29"/>
            </p:custDataLst>
          </p:nvPr>
        </p:nvSpPr>
        <p:spPr bwMode="gray">
          <a:xfrm>
            <a:off x="3051175" y="3340101"/>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F58E86-5719-4B80-837A-E1C10069553F}" type="datetime'''''''3''''''''''4''''''''''''''.5''4''''''4'''''">
              <a:rPr lang="da-DK" sz="1000" b="1" noProof="0" smtClean="0">
                <a:effectLst/>
                <a:latin typeface="+mn-lt"/>
              </a:rPr>
              <a:pPr marL="0" indent="0" algn="ctr">
                <a:spcBef>
                  <a:spcPct val="0"/>
                </a:spcBef>
                <a:spcAft>
                  <a:spcPct val="0"/>
                </a:spcAft>
                <a:buNone/>
              </a:pPr>
              <a:t>34.544</a:t>
            </a:fld>
            <a:endParaRPr lang="da-DK" sz="1000" b="1" noProof="0">
              <a:latin typeface="+mn-lt"/>
            </a:endParaRPr>
          </a:p>
        </p:txBody>
      </p:sp>
      <p:sp>
        <p:nvSpPr>
          <p:cNvPr id="108" name="Text Placeholder 2">
            <a:extLst>
              <a:ext uri="{FF2B5EF4-FFF2-40B4-BE49-F238E27FC236}">
                <a16:creationId xmlns:a16="http://schemas.microsoft.com/office/drawing/2014/main" id="{529DEB59-5882-FA22-BFFF-835EEA89A7BA}"/>
              </a:ext>
            </a:extLst>
          </p:cNvPr>
          <p:cNvSpPr>
            <a:spLocks noGrp="1"/>
          </p:cNvSpPr>
          <p:nvPr>
            <p:custDataLst>
              <p:tags r:id="rId30"/>
            </p:custDataLst>
          </p:nvPr>
        </p:nvSpPr>
        <p:spPr bwMode="gray">
          <a:xfrm>
            <a:off x="4189413" y="3343276"/>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096D5C-DD72-4C84-BEDF-7BBD8AEBD452}" type="datetime'''''34''.''''''''475'''''''''''''''''''''''''''''''''''''">
              <a:rPr lang="da-DK" sz="1000" b="1" noProof="0" smtClean="0">
                <a:effectLst/>
                <a:latin typeface="+mn-lt"/>
              </a:rPr>
              <a:pPr marL="0" indent="0" algn="ctr">
                <a:spcBef>
                  <a:spcPct val="0"/>
                </a:spcBef>
                <a:spcAft>
                  <a:spcPct val="0"/>
                </a:spcAft>
                <a:buNone/>
              </a:pPr>
              <a:t>34.475</a:t>
            </a:fld>
            <a:endParaRPr lang="da-DK" sz="1000" b="1" noProof="0">
              <a:latin typeface="+mn-lt"/>
            </a:endParaRPr>
          </a:p>
        </p:txBody>
      </p:sp>
      <p:sp>
        <p:nvSpPr>
          <p:cNvPr id="109" name="Text Placeholder 2">
            <a:extLst>
              <a:ext uri="{FF2B5EF4-FFF2-40B4-BE49-F238E27FC236}">
                <a16:creationId xmlns:a16="http://schemas.microsoft.com/office/drawing/2014/main" id="{CBD6F36B-6A64-3BF2-2F4F-FBF6620C85F6}"/>
              </a:ext>
            </a:extLst>
          </p:cNvPr>
          <p:cNvSpPr>
            <a:spLocks noGrp="1"/>
          </p:cNvSpPr>
          <p:nvPr>
            <p:custDataLst>
              <p:tags r:id="rId31"/>
            </p:custDataLst>
          </p:nvPr>
        </p:nvSpPr>
        <p:spPr bwMode="gray">
          <a:xfrm>
            <a:off x="5326063" y="3105151"/>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336DCC-75C7-4312-B312-753CC914C51A}" type="datetime'''''37''''''''.''''''''6''''''''''6''''''''''''''''''8'''">
              <a:rPr lang="da-DK" sz="1000" b="1" noProof="0" smtClean="0">
                <a:effectLst/>
                <a:latin typeface="+mn-lt"/>
              </a:rPr>
              <a:pPr marL="0" indent="0" algn="ctr">
                <a:spcBef>
                  <a:spcPct val="0"/>
                </a:spcBef>
                <a:spcAft>
                  <a:spcPct val="0"/>
                </a:spcAft>
                <a:buNone/>
              </a:pPr>
              <a:t>37.668</a:t>
            </a:fld>
            <a:endParaRPr lang="da-DK" sz="1000" b="1" noProof="0">
              <a:latin typeface="+mn-lt"/>
            </a:endParaRPr>
          </a:p>
        </p:txBody>
      </p:sp>
      <p:sp>
        <p:nvSpPr>
          <p:cNvPr id="5" name="Text Placeholder 2">
            <a:extLst>
              <a:ext uri="{FF2B5EF4-FFF2-40B4-BE49-F238E27FC236}">
                <a16:creationId xmlns:a16="http://schemas.microsoft.com/office/drawing/2014/main" id="{2FA8C3B6-DCD1-EC06-3CDC-1FA08665A616}"/>
              </a:ext>
            </a:extLst>
          </p:cNvPr>
          <p:cNvSpPr>
            <a:spLocks noGrp="1"/>
          </p:cNvSpPr>
          <p:nvPr>
            <p:custDataLst>
              <p:tags r:id="rId32"/>
            </p:custDataLst>
          </p:nvPr>
        </p:nvSpPr>
        <p:spPr bwMode="auto">
          <a:xfrm>
            <a:off x="4795838" y="2817814"/>
            <a:ext cx="36830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95072B-32BA-4AAD-A455-272940EC542D}" type="datetime'''''''''+9''''''''''''''''%'''''''''''''''''''''''''''''''">
              <a:rPr lang="da-DK" altLang="en-US" sz="1000" b="1" smtClean="0">
                <a:effectLst/>
                <a:latin typeface="+mn-lt"/>
              </a:rPr>
              <a:pPr marL="0" indent="0" algn="ctr">
                <a:spcBef>
                  <a:spcPct val="0"/>
                </a:spcBef>
                <a:spcAft>
                  <a:spcPct val="0"/>
                </a:spcAft>
                <a:buNone/>
              </a:pPr>
              <a:t>+9%</a:t>
            </a:fld>
            <a:endParaRPr lang="da-DK" sz="1400" b="1">
              <a:latin typeface="+mn-lt"/>
            </a:endParaRPr>
          </a:p>
        </p:txBody>
      </p:sp>
      <p:sp>
        <p:nvSpPr>
          <p:cNvPr id="40" name="Rectangle 39">
            <a:extLst>
              <a:ext uri="{FF2B5EF4-FFF2-40B4-BE49-F238E27FC236}">
                <a16:creationId xmlns:a16="http://schemas.microsoft.com/office/drawing/2014/main" id="{5E1E1379-9551-D60A-C873-3BF964C21CE5}"/>
              </a:ext>
            </a:extLst>
          </p:cNvPr>
          <p:cNvSpPr/>
          <p:nvPr>
            <p:custDataLst>
              <p:tags r:id="rId33"/>
            </p:custDataLst>
          </p:nvPr>
        </p:nvSpPr>
        <p:spPr bwMode="auto">
          <a:xfrm>
            <a:off x="493713" y="2219325"/>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41" name="Rectangle 40">
            <a:extLst>
              <a:ext uri="{FF2B5EF4-FFF2-40B4-BE49-F238E27FC236}">
                <a16:creationId xmlns:a16="http://schemas.microsoft.com/office/drawing/2014/main" id="{528957AA-4953-57B2-C8B8-5E702F47E9E4}"/>
              </a:ext>
            </a:extLst>
          </p:cNvPr>
          <p:cNvSpPr/>
          <p:nvPr>
            <p:custDataLst>
              <p:tags r:id="rId34"/>
            </p:custDataLst>
          </p:nvPr>
        </p:nvSpPr>
        <p:spPr bwMode="auto">
          <a:xfrm>
            <a:off x="2251075" y="2219325"/>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42" name="Rectangle 41">
            <a:extLst>
              <a:ext uri="{FF2B5EF4-FFF2-40B4-BE49-F238E27FC236}">
                <a16:creationId xmlns:a16="http://schemas.microsoft.com/office/drawing/2014/main" id="{349B87E4-7383-E8CF-674B-78E4105FA051}"/>
              </a:ext>
            </a:extLst>
          </p:cNvPr>
          <p:cNvSpPr/>
          <p:nvPr>
            <p:custDataLst>
              <p:tags r:id="rId35"/>
            </p:custDataLst>
          </p:nvPr>
        </p:nvSpPr>
        <p:spPr bwMode="auto">
          <a:xfrm>
            <a:off x="3406775" y="2219325"/>
            <a:ext cx="179388" cy="1333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43" name="Text Placeholder 2">
            <a:extLst>
              <a:ext uri="{FF2B5EF4-FFF2-40B4-BE49-F238E27FC236}">
                <a16:creationId xmlns:a16="http://schemas.microsoft.com/office/drawing/2014/main" id="{A55D688D-BE0D-F4A8-DAD3-3F789B0CBA78}"/>
              </a:ext>
            </a:extLst>
          </p:cNvPr>
          <p:cNvSpPr>
            <a:spLocks noGrp="1"/>
          </p:cNvSpPr>
          <p:nvPr>
            <p:custDataLst>
              <p:tags r:id="rId36"/>
            </p:custDataLst>
          </p:nvPr>
        </p:nvSpPr>
        <p:spPr bwMode="auto">
          <a:xfrm>
            <a:off x="723900" y="2227263"/>
            <a:ext cx="1425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166B6C-A7C3-46C9-B73B-576EEFFB6654}" type="datetime'''Enke''''''l''tm''''''a''nd''svirk''''so''''m''he''''d'''''''">
              <a:rPr lang="da-DK" sz="1000" noProof="0" smtClean="0">
                <a:latin typeface="+mn-lt"/>
              </a:rPr>
              <a:pPr marL="0" indent="0">
                <a:spcBef>
                  <a:spcPct val="0"/>
                </a:spcBef>
                <a:spcAft>
                  <a:spcPct val="0"/>
                </a:spcAft>
                <a:buNone/>
              </a:pPr>
              <a:t>Enkeltmandsvirksomhed</a:t>
            </a:fld>
            <a:endParaRPr lang="da-DK" sz="1000" noProof="0">
              <a:latin typeface="+mn-lt"/>
            </a:endParaRPr>
          </a:p>
        </p:txBody>
      </p:sp>
      <p:sp>
        <p:nvSpPr>
          <p:cNvPr id="44" name="Text Placeholder 2">
            <a:extLst>
              <a:ext uri="{FF2B5EF4-FFF2-40B4-BE49-F238E27FC236}">
                <a16:creationId xmlns:a16="http://schemas.microsoft.com/office/drawing/2014/main" id="{C4D59AE5-5197-F3E4-3A91-D0EBDA7D3059}"/>
              </a:ext>
            </a:extLst>
          </p:cNvPr>
          <p:cNvSpPr>
            <a:spLocks noGrp="1"/>
          </p:cNvSpPr>
          <p:nvPr>
            <p:custDataLst>
              <p:tags r:id="rId37"/>
            </p:custDataLst>
          </p:nvPr>
        </p:nvSpPr>
        <p:spPr bwMode="auto">
          <a:xfrm>
            <a:off x="2481263" y="2227263"/>
            <a:ext cx="823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EC5C7B-37ED-49AD-8F73-8D14DCF0AA48}" type="datetime'''''''''An''''''p''a''rts''''''el''''''''''s''ka''b'''''''">
              <a:rPr lang="da-DK" sz="1000" noProof="0" smtClean="0">
                <a:latin typeface="+mn-lt"/>
              </a:rPr>
              <a:pPr marL="0" indent="0">
                <a:spcBef>
                  <a:spcPct val="0"/>
                </a:spcBef>
                <a:spcAft>
                  <a:spcPct val="0"/>
                </a:spcAft>
                <a:buNone/>
              </a:pPr>
              <a:t>Anpartselskab</a:t>
            </a:fld>
            <a:endParaRPr lang="da-DK" sz="1000" noProof="0">
              <a:latin typeface="+mn-lt"/>
            </a:endParaRPr>
          </a:p>
        </p:txBody>
      </p:sp>
      <p:sp>
        <p:nvSpPr>
          <p:cNvPr id="45" name="Text Placeholder 2">
            <a:extLst>
              <a:ext uri="{FF2B5EF4-FFF2-40B4-BE49-F238E27FC236}">
                <a16:creationId xmlns:a16="http://schemas.microsoft.com/office/drawing/2014/main" id="{C3FA252C-AAA4-3526-0C4A-F89834CE4549}"/>
              </a:ext>
            </a:extLst>
          </p:cNvPr>
          <p:cNvSpPr>
            <a:spLocks noGrp="1"/>
          </p:cNvSpPr>
          <p:nvPr>
            <p:custDataLst>
              <p:tags r:id="rId38"/>
            </p:custDataLst>
          </p:nvPr>
        </p:nvSpPr>
        <p:spPr bwMode="auto">
          <a:xfrm>
            <a:off x="3636963" y="2227263"/>
            <a:ext cx="728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AF9B069-008C-4AF7-9206-01B3C8DF8C9C}" type="datetime'''''A''''''k''ti''''''''''ese''lska''b'''''''''''''''">
              <a:rPr lang="da-DK" sz="1000" noProof="0" smtClean="0">
                <a:latin typeface="+mn-lt"/>
              </a:rPr>
              <a:pPr marL="0" indent="0">
                <a:spcBef>
                  <a:spcPct val="0"/>
                </a:spcBef>
                <a:spcAft>
                  <a:spcPct val="0"/>
                </a:spcAft>
                <a:buNone/>
              </a:pPr>
              <a:t>Aktieselskab</a:t>
            </a:fld>
            <a:endParaRPr lang="da-DK" sz="1000" noProof="0">
              <a:latin typeface="+mn-lt"/>
            </a:endParaRPr>
          </a:p>
        </p:txBody>
      </p:sp>
      <p:cxnSp>
        <p:nvCxnSpPr>
          <p:cNvPr id="47" name="Straight Connector 46">
            <a:extLst>
              <a:ext uri="{FF2B5EF4-FFF2-40B4-BE49-F238E27FC236}">
                <a16:creationId xmlns:a16="http://schemas.microsoft.com/office/drawing/2014/main" id="{4F4379A8-AAB4-88A5-3278-4EE7B56CC919}"/>
              </a:ext>
            </a:extLst>
          </p:cNvPr>
          <p:cNvCxnSpPr>
            <a:cxnSpLocks/>
          </p:cNvCxnSpPr>
          <p:nvPr/>
        </p:nvCxnSpPr>
        <p:spPr>
          <a:xfrm flipH="1" flipV="1">
            <a:off x="5868988" y="4016375"/>
            <a:ext cx="668337"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8324D8D-B88E-D94F-759F-ACC547D7D143}"/>
              </a:ext>
            </a:extLst>
          </p:cNvPr>
          <p:cNvSpPr txBox="1"/>
          <p:nvPr>
            <p:custDataLst>
              <p:tags r:id="rId39"/>
            </p:custDataLst>
          </p:nvPr>
        </p:nvSpPr>
        <p:spPr>
          <a:xfrm>
            <a:off x="6702425" y="2783363"/>
            <a:ext cx="1811338" cy="400050"/>
          </a:xfrm>
          <a:prstGeom prst="rect">
            <a:avLst/>
          </a:prstGeom>
          <a:noFill/>
        </p:spPr>
        <p:txBody>
          <a:bodyPr wrap="square" rtlCol="0">
            <a:spAutoFit/>
          </a:bodyPr>
          <a:lstStyle/>
          <a:p>
            <a:pPr algn="ctr"/>
            <a:r>
              <a:rPr lang="da-DK" sz="1000" b="1" noProof="0"/>
              <a:t>Antal nystiftede anpartsselskaber</a:t>
            </a:r>
          </a:p>
        </p:txBody>
      </p:sp>
      <p:graphicFrame>
        <p:nvGraphicFramePr>
          <p:cNvPr id="71" name="Chart 70">
            <a:extLst>
              <a:ext uri="{FF2B5EF4-FFF2-40B4-BE49-F238E27FC236}">
                <a16:creationId xmlns:a16="http://schemas.microsoft.com/office/drawing/2014/main" id="{7252255E-714E-3834-3789-129499AB9A50}"/>
              </a:ext>
            </a:extLst>
          </p:cNvPr>
          <p:cNvGraphicFramePr/>
          <p:nvPr>
            <p:custDataLst>
              <p:tags r:id="rId40"/>
            </p:custDataLst>
            <p:extLst>
              <p:ext uri="{D42A27DB-BD31-4B8C-83A1-F6EECF244321}">
                <p14:modId xmlns:p14="http://schemas.microsoft.com/office/powerpoint/2010/main" val="1840337121"/>
              </p:ext>
            </p:extLst>
          </p:nvPr>
        </p:nvGraphicFramePr>
        <p:xfrm>
          <a:off x="6224588" y="3990975"/>
          <a:ext cx="2770187" cy="2327275"/>
        </p:xfrm>
        <a:graphic>
          <a:graphicData uri="http://schemas.openxmlformats.org/drawingml/2006/chart">
            <c:chart xmlns:c="http://schemas.openxmlformats.org/drawingml/2006/chart" xmlns:r="http://schemas.openxmlformats.org/officeDocument/2006/relationships" r:id="rId51"/>
          </a:graphicData>
        </a:graphic>
      </p:graphicFrame>
      <p:sp>
        <p:nvSpPr>
          <p:cNvPr id="56" name="Text Placeholder 2">
            <a:extLst>
              <a:ext uri="{FF2B5EF4-FFF2-40B4-BE49-F238E27FC236}">
                <a16:creationId xmlns:a16="http://schemas.microsoft.com/office/drawing/2014/main" id="{E84F29C0-5088-B6D7-119C-8AAD29A17454}"/>
              </a:ext>
            </a:extLst>
          </p:cNvPr>
          <p:cNvSpPr>
            <a:spLocks noGrp="1"/>
          </p:cNvSpPr>
          <p:nvPr>
            <p:custDataLst>
              <p:tags r:id="rId41"/>
            </p:custDataLst>
          </p:nvPr>
        </p:nvSpPr>
        <p:spPr bwMode="auto">
          <a:xfrm>
            <a:off x="7010400" y="6135688"/>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6A203F-2246-4B6C-84D4-7B5F92E9977F}" type="datetime'''2''0''''''''''''''''24'''">
              <a:rPr lang="da-DK" sz="1000" noProof="0" smtClean="0">
                <a:latin typeface="+mn-lt"/>
              </a:rPr>
              <a:pPr marL="0" indent="0" algn="ctr">
                <a:spcBef>
                  <a:spcPct val="0"/>
                </a:spcBef>
                <a:spcAft>
                  <a:spcPct val="0"/>
                </a:spcAft>
                <a:buNone/>
              </a:pPr>
              <a:t>2024</a:t>
            </a:fld>
            <a:endParaRPr lang="da-DK" sz="1000" noProof="0">
              <a:latin typeface="+mn-lt"/>
            </a:endParaRPr>
          </a:p>
        </p:txBody>
      </p:sp>
      <p:sp>
        <p:nvSpPr>
          <p:cNvPr id="57" name="Text Placeholder 2">
            <a:extLst>
              <a:ext uri="{FF2B5EF4-FFF2-40B4-BE49-F238E27FC236}">
                <a16:creationId xmlns:a16="http://schemas.microsoft.com/office/drawing/2014/main" id="{205DB351-BA7D-9CCB-0ACD-A5D40A424855}"/>
              </a:ext>
            </a:extLst>
          </p:cNvPr>
          <p:cNvSpPr>
            <a:spLocks noGrp="1"/>
          </p:cNvSpPr>
          <p:nvPr>
            <p:custDataLst>
              <p:tags r:id="rId42"/>
            </p:custDataLst>
          </p:nvPr>
        </p:nvSpPr>
        <p:spPr bwMode="auto">
          <a:xfrm>
            <a:off x="7889875" y="6135688"/>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A99707A-166D-4D17-9842-84C9791F58F7}" type="datetime'''''''2''''0''''''''''''''''2''''''''''''''''''''''''''5'">
              <a:rPr lang="da-DK" sz="1000" noProof="0" smtClean="0">
                <a:latin typeface="+mn-lt"/>
              </a:rPr>
              <a:pPr marL="0" indent="0" algn="ctr">
                <a:spcBef>
                  <a:spcPct val="0"/>
                </a:spcBef>
                <a:spcAft>
                  <a:spcPct val="0"/>
                </a:spcAft>
                <a:buNone/>
              </a:pPr>
              <a:t>2025</a:t>
            </a:fld>
            <a:endParaRPr lang="da-DK" sz="1000" noProof="0">
              <a:latin typeface="+mn-lt"/>
            </a:endParaRPr>
          </a:p>
        </p:txBody>
      </p:sp>
      <p:sp>
        <p:nvSpPr>
          <p:cNvPr id="58" name="TextBox 57">
            <a:extLst>
              <a:ext uri="{FF2B5EF4-FFF2-40B4-BE49-F238E27FC236}">
                <a16:creationId xmlns:a16="http://schemas.microsoft.com/office/drawing/2014/main" id="{B4CFB905-3E79-B246-AB42-5E896550FA93}"/>
              </a:ext>
            </a:extLst>
          </p:cNvPr>
          <p:cNvSpPr txBox="1"/>
          <p:nvPr>
            <p:custDataLst>
              <p:tags r:id="rId43"/>
            </p:custDataLst>
          </p:nvPr>
        </p:nvSpPr>
        <p:spPr>
          <a:xfrm>
            <a:off x="7113010" y="4204656"/>
            <a:ext cx="625475" cy="247650"/>
          </a:xfrm>
          <a:prstGeom prst="rect">
            <a:avLst/>
          </a:prstGeom>
          <a:noFill/>
        </p:spPr>
        <p:txBody>
          <a:bodyPr wrap="square" rtlCol="0">
            <a:spAutoFit/>
          </a:bodyPr>
          <a:lstStyle/>
          <a:p>
            <a:r>
              <a:rPr lang="da-DK" sz="1000" noProof="0"/>
              <a:t>+22%</a:t>
            </a:r>
          </a:p>
        </p:txBody>
      </p:sp>
      <p:cxnSp>
        <p:nvCxnSpPr>
          <p:cNvPr id="59" name="Straight Connector 58">
            <a:extLst>
              <a:ext uri="{FF2B5EF4-FFF2-40B4-BE49-F238E27FC236}">
                <a16:creationId xmlns:a16="http://schemas.microsoft.com/office/drawing/2014/main" id="{7E2A1EF0-6177-FFB5-C143-B32F76058768}"/>
              </a:ext>
            </a:extLst>
          </p:cNvPr>
          <p:cNvCxnSpPr>
            <a:cxnSpLocks/>
          </p:cNvCxnSpPr>
          <p:nvPr>
            <p:custDataLst>
              <p:tags r:id="rId44"/>
            </p:custDataLst>
          </p:nvPr>
        </p:nvCxnSpPr>
        <p:spPr>
          <a:xfrm flipV="1">
            <a:off x="7424159" y="4232537"/>
            <a:ext cx="383166" cy="313087"/>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DC8FF734-4962-CCD5-E0A1-5E4699917E18}"/>
              </a:ext>
            </a:extLst>
          </p:cNvPr>
          <p:cNvSpPr txBox="1"/>
          <p:nvPr/>
        </p:nvSpPr>
        <p:spPr>
          <a:xfrm>
            <a:off x="431800" y="1904227"/>
            <a:ext cx="8416925" cy="264298"/>
          </a:xfrm>
          <a:prstGeom prst="rect">
            <a:avLst/>
          </a:prstGeom>
          <a:noFill/>
        </p:spPr>
        <p:txBody>
          <a:bodyPr wrap="square" lIns="0" rtlCol="0">
            <a:noAutofit/>
          </a:bodyPr>
          <a:lstStyle/>
          <a:p>
            <a:r>
              <a:rPr lang="da-DK" sz="1200" b="1" noProof="0"/>
              <a:t>Udviklingen i antal nystiftede virksomheder fordelt på selskabstyper, </a:t>
            </a:r>
            <a:r>
              <a:rPr lang="da-DK" sz="1200" noProof="0"/>
              <a:t>antal</a:t>
            </a:r>
          </a:p>
        </p:txBody>
      </p:sp>
      <p:sp>
        <p:nvSpPr>
          <p:cNvPr id="81" name="TextBox 80">
            <a:extLst>
              <a:ext uri="{FF2B5EF4-FFF2-40B4-BE49-F238E27FC236}">
                <a16:creationId xmlns:a16="http://schemas.microsoft.com/office/drawing/2014/main" id="{A7F6D940-5656-1F42-B951-2737F2FFE70A}"/>
              </a:ext>
            </a:extLst>
          </p:cNvPr>
          <p:cNvSpPr txBox="1"/>
          <p:nvPr/>
        </p:nvSpPr>
        <p:spPr>
          <a:xfrm>
            <a:off x="10815638" y="6424613"/>
            <a:ext cx="942975" cy="246221"/>
          </a:xfrm>
          <a:prstGeom prst="rect">
            <a:avLst/>
          </a:prstGeom>
          <a:noFill/>
        </p:spPr>
        <p:txBody>
          <a:bodyPr wrap="square" rtlCol="0">
            <a:spAutoFit/>
          </a:bodyPr>
          <a:lstStyle/>
          <a:p>
            <a:pPr algn="r"/>
            <a:r>
              <a:rPr lang="da-DK" sz="1000" noProof="0"/>
              <a:t>4</a:t>
            </a:r>
          </a:p>
        </p:txBody>
      </p:sp>
      <p:sp>
        <p:nvSpPr>
          <p:cNvPr id="82" name="Text Placeholder 3">
            <a:extLst>
              <a:ext uri="{FF2B5EF4-FFF2-40B4-BE49-F238E27FC236}">
                <a16:creationId xmlns:a16="http://schemas.microsoft.com/office/drawing/2014/main" id="{CB93B0B4-8659-86A4-FE55-5271DBAEDFCE}"/>
              </a:ext>
            </a:extLst>
          </p:cNvPr>
          <p:cNvSpPr>
            <a:spLocks noGrp="1"/>
          </p:cNvSpPr>
          <p:nvPr>
            <p:ph type="body" sz="quarter" idx="15"/>
          </p:nvPr>
        </p:nvSpPr>
        <p:spPr>
          <a:xfrm>
            <a:off x="431800" y="6461126"/>
            <a:ext cx="9331325" cy="196850"/>
          </a:xfrm>
        </p:spPr>
        <p:txBody>
          <a:bodyPr/>
          <a:lstStyle/>
          <a:p>
            <a:r>
              <a:rPr lang="da-DK" noProof="0"/>
              <a:t>Note: 1) Nystiftede virksomheder omfatter enkeltmandsvirksomheder, anpartsselskaber samt aktieselskaber.</a:t>
            </a:r>
          </a:p>
          <a:p>
            <a:endParaRPr lang="da-DK" noProof="0"/>
          </a:p>
        </p:txBody>
      </p:sp>
      <p:sp>
        <p:nvSpPr>
          <p:cNvPr id="83" name="Text Placeholder 4">
            <a:extLst>
              <a:ext uri="{FF2B5EF4-FFF2-40B4-BE49-F238E27FC236}">
                <a16:creationId xmlns:a16="http://schemas.microsoft.com/office/drawing/2014/main" id="{8B576206-C2D3-34DA-4BCD-7916A29DD6D1}"/>
              </a:ext>
            </a:extLst>
          </p:cNvPr>
          <p:cNvSpPr>
            <a:spLocks noGrp="1"/>
          </p:cNvSpPr>
          <p:nvPr>
            <p:ph type="body" sz="quarter" idx="16"/>
          </p:nvPr>
        </p:nvSpPr>
        <p:spPr>
          <a:xfrm>
            <a:off x="431800" y="6661150"/>
            <a:ext cx="9331325" cy="196850"/>
          </a:xfrm>
        </p:spPr>
        <p:txBody>
          <a:bodyPr/>
          <a:lstStyle/>
          <a:p>
            <a:r>
              <a:rPr lang="da-DK" noProof="0"/>
              <a:t>Kilde: </a:t>
            </a:r>
            <a:r>
              <a:rPr lang="da-DK" noProof="0" err="1"/>
              <a:t>LassoX</a:t>
            </a:r>
            <a:r>
              <a:rPr lang="da-DK" noProof="0"/>
              <a:t> – hentet februar 2025. 2) </a:t>
            </a:r>
            <a:r>
              <a:rPr lang="da-DK">
                <a:hlinkClick r:id="rId52"/>
              </a:rPr>
              <a:t>Iværksætterpakken</a:t>
            </a:r>
            <a:r>
              <a:rPr lang="da-DK"/>
              <a:t>, ERST 2024.</a:t>
            </a:r>
            <a:endParaRPr lang="da-DK" noProof="0"/>
          </a:p>
          <a:p>
            <a:endParaRPr lang="da-DK" noProof="0"/>
          </a:p>
        </p:txBody>
      </p:sp>
      <p:sp>
        <p:nvSpPr>
          <p:cNvPr id="35" name="TextBox 34">
            <a:extLst>
              <a:ext uri="{FF2B5EF4-FFF2-40B4-BE49-F238E27FC236}">
                <a16:creationId xmlns:a16="http://schemas.microsoft.com/office/drawing/2014/main" id="{50E6A408-5946-1B9B-1589-3F87C7D48C4F}"/>
              </a:ext>
            </a:extLst>
          </p:cNvPr>
          <p:cNvSpPr txBox="1"/>
          <p:nvPr/>
        </p:nvSpPr>
        <p:spPr>
          <a:xfrm>
            <a:off x="9018588" y="1891526"/>
            <a:ext cx="808876" cy="276999"/>
          </a:xfrm>
          <a:prstGeom prst="rect">
            <a:avLst/>
          </a:prstGeom>
          <a:noFill/>
        </p:spPr>
        <p:txBody>
          <a:bodyPr wrap="none" lIns="0" rtlCol="0">
            <a:spAutoFit/>
          </a:bodyPr>
          <a:lstStyle/>
          <a:p>
            <a:r>
              <a:rPr lang="en-GB" sz="1200" b="1"/>
              <a:t>Highlights</a:t>
            </a:r>
          </a:p>
        </p:txBody>
      </p:sp>
      <p:cxnSp>
        <p:nvCxnSpPr>
          <p:cNvPr id="36" name="Straight Connector 35">
            <a:extLst>
              <a:ext uri="{FF2B5EF4-FFF2-40B4-BE49-F238E27FC236}">
                <a16:creationId xmlns:a16="http://schemas.microsoft.com/office/drawing/2014/main" id="{3F9A9216-123D-8BD1-4657-66B7F171C66C}"/>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1EED0A1-0D92-3E74-21E1-130A6733F851}"/>
              </a:ext>
            </a:extLst>
          </p:cNvPr>
          <p:cNvSpPr txBox="1"/>
          <p:nvPr>
            <p:custDataLst>
              <p:tags r:id="rId45"/>
            </p:custDataLst>
          </p:nvPr>
        </p:nvSpPr>
        <p:spPr>
          <a:xfrm>
            <a:off x="6567488" y="3200158"/>
            <a:ext cx="2081212" cy="861774"/>
          </a:xfrm>
          <a:prstGeom prst="rect">
            <a:avLst/>
          </a:prstGeom>
          <a:noFill/>
        </p:spPr>
        <p:txBody>
          <a:bodyPr wrap="square" lIns="0" rIns="0" rtlCol="0">
            <a:spAutoFit/>
          </a:bodyPr>
          <a:lstStyle/>
          <a:p>
            <a:pPr algn="ctr"/>
            <a:r>
              <a:rPr lang="da-DK" sz="1000"/>
              <a:t>I 2024 vedtages Iværksætterpakken, som i 2025 reducerer kapitalkravet til anpartsselskaber fra 40.000 til 20.000 kr.</a:t>
            </a:r>
            <a:r>
              <a:rPr lang="da-DK" sz="1000" baseline="30000"/>
              <a:t>.2</a:t>
            </a:r>
          </a:p>
        </p:txBody>
      </p:sp>
    </p:spTree>
    <p:extLst>
      <p:ext uri="{BB962C8B-B14F-4D97-AF65-F5344CB8AC3E}">
        <p14:creationId xmlns:p14="http://schemas.microsoft.com/office/powerpoint/2010/main" val="1493936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4C2EC-12B2-248F-2295-9EB3BC84576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C3CB3B-433E-94A0-3350-7FCF32F6CB7E}"/>
              </a:ext>
            </a:extLst>
          </p:cNvPr>
          <p:cNvGraphicFramePr>
            <a:graphicFrameLocks noChangeAspect="1"/>
          </p:cNvGraphicFramePr>
          <p:nvPr>
            <p:custDataLst>
              <p:tags r:id="rId1"/>
            </p:custDataLst>
            <p:extLst>
              <p:ext uri="{D42A27DB-BD31-4B8C-83A1-F6EECF244321}">
                <p14:modId xmlns:p14="http://schemas.microsoft.com/office/powerpoint/2010/main" val="142423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11" name="think-cell data - do not delete" hidden="1">
                        <a:extLst>
                          <a:ext uri="{FF2B5EF4-FFF2-40B4-BE49-F238E27FC236}">
                            <a16:creationId xmlns:a16="http://schemas.microsoft.com/office/drawing/2014/main" id="{2AC3CB3B-433E-94A0-3350-7FCF32F6CB7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77" name="Trapezium 276">
            <a:extLst>
              <a:ext uri="{FF2B5EF4-FFF2-40B4-BE49-F238E27FC236}">
                <a16:creationId xmlns:a16="http://schemas.microsoft.com/office/drawing/2014/main" id="{FDCB89E1-C380-F487-E053-94B6C0B5B69A}"/>
              </a:ext>
            </a:extLst>
          </p:cNvPr>
          <p:cNvSpPr/>
          <p:nvPr/>
        </p:nvSpPr>
        <p:spPr>
          <a:xfrm rot="5400000">
            <a:off x="4729457" y="3824895"/>
            <a:ext cx="381677" cy="176827"/>
          </a:xfrm>
          <a:prstGeom prst="trapezoid">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 name="Rectangle 275">
            <a:extLst>
              <a:ext uri="{FF2B5EF4-FFF2-40B4-BE49-F238E27FC236}">
                <a16:creationId xmlns:a16="http://schemas.microsoft.com/office/drawing/2014/main" id="{AA7DDB26-5299-9C69-4EC1-CBD8C4D89FA2}"/>
              </a:ext>
            </a:extLst>
          </p:cNvPr>
          <p:cNvSpPr/>
          <p:nvPr/>
        </p:nvSpPr>
        <p:spPr>
          <a:xfrm>
            <a:off x="431801" y="3722470"/>
            <a:ext cx="4400258" cy="381676"/>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4111859-A6ED-82C9-7D6B-3C319ADD27D8}"/>
              </a:ext>
            </a:extLst>
          </p:cNvPr>
          <p:cNvSpPr>
            <a:spLocks noGrp="1"/>
          </p:cNvSpPr>
          <p:nvPr>
            <p:ph type="title"/>
          </p:nvPr>
        </p:nvSpPr>
        <p:spPr/>
        <p:txBody>
          <a:bodyPr vert="horz"/>
          <a:lstStyle/>
          <a:p>
            <a:r>
              <a:rPr lang="da-DK" sz="2800"/>
              <a:t>To hovedbrancher udgør næsten halvdelen af nystiftede virksomheder i 2025</a:t>
            </a:r>
            <a:endParaRPr lang="en-GB" sz="2800"/>
          </a:p>
        </p:txBody>
      </p:sp>
      <p:sp>
        <p:nvSpPr>
          <p:cNvPr id="3" name="Text Placeholder 2">
            <a:extLst>
              <a:ext uri="{FF2B5EF4-FFF2-40B4-BE49-F238E27FC236}">
                <a16:creationId xmlns:a16="http://schemas.microsoft.com/office/drawing/2014/main" id="{678D456F-19A5-55D5-B9E0-17D48A1AC101}"/>
              </a:ext>
            </a:extLst>
          </p:cNvPr>
          <p:cNvSpPr>
            <a:spLocks noGrp="1"/>
          </p:cNvSpPr>
          <p:nvPr>
            <p:ph type="body" sz="quarter" idx="14"/>
          </p:nvPr>
        </p:nvSpPr>
        <p:spPr/>
        <p:txBody>
          <a:bodyPr/>
          <a:lstStyle/>
          <a:p>
            <a:r>
              <a:rPr lang="en-GB"/>
              <a:t>Brancher</a:t>
            </a:r>
          </a:p>
        </p:txBody>
      </p:sp>
      <p:sp>
        <p:nvSpPr>
          <p:cNvPr id="5" name="Text Placeholder 4">
            <a:extLst>
              <a:ext uri="{FF2B5EF4-FFF2-40B4-BE49-F238E27FC236}">
                <a16:creationId xmlns:a16="http://schemas.microsoft.com/office/drawing/2014/main" id="{606D1AF2-431C-5C1C-027C-F96AB7A16144}"/>
              </a:ext>
            </a:extLst>
          </p:cNvPr>
          <p:cNvSpPr>
            <a:spLocks noGrp="1"/>
          </p:cNvSpPr>
          <p:nvPr>
            <p:ph type="body" sz="quarter" idx="16"/>
          </p:nvPr>
        </p:nvSpPr>
        <p:spPr/>
        <p:txBody>
          <a:bodyPr/>
          <a:lstStyle/>
          <a:p>
            <a:r>
              <a:rPr lang="da-DK"/>
              <a:t>Kilde: </a:t>
            </a:r>
            <a:r>
              <a:rPr lang="da-DK" err="1"/>
              <a:t>LassoX</a:t>
            </a:r>
            <a:r>
              <a:rPr lang="da-DK"/>
              <a:t> – hentet februar 2025, </a:t>
            </a:r>
            <a:r>
              <a:rPr lang="da-DK">
                <a:hlinkClick r:id="rId17"/>
              </a:rPr>
              <a:t>Dansk Branchekode 2025 er gældende</a:t>
            </a:r>
            <a:r>
              <a:rPr lang="da-DK"/>
              <a:t> (DST). </a:t>
            </a:r>
          </a:p>
          <a:p>
            <a:endParaRPr lang="en-GB"/>
          </a:p>
        </p:txBody>
      </p:sp>
      <p:cxnSp>
        <p:nvCxnSpPr>
          <p:cNvPr id="6" name="Straight Connector 5">
            <a:extLst>
              <a:ext uri="{FF2B5EF4-FFF2-40B4-BE49-F238E27FC236}">
                <a16:creationId xmlns:a16="http://schemas.microsoft.com/office/drawing/2014/main" id="{B16F3949-58F3-E5A1-04C7-DD5E37D0CD42}"/>
              </a:ext>
            </a:extLst>
          </p:cNvPr>
          <p:cNvCxnSpPr>
            <a:cxnSpLocks/>
          </p:cNvCxnSpPr>
          <p:nvPr/>
        </p:nvCxnSpPr>
        <p:spPr>
          <a:xfrm>
            <a:off x="425451" y="2168525"/>
            <a:ext cx="44103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48C5082-1059-F27E-E24C-3FDBF3F419B2}"/>
              </a:ext>
            </a:extLst>
          </p:cNvPr>
          <p:cNvSpPr txBox="1"/>
          <p:nvPr/>
        </p:nvSpPr>
        <p:spPr>
          <a:xfrm>
            <a:off x="431800" y="1891526"/>
            <a:ext cx="3154363" cy="276999"/>
          </a:xfrm>
          <a:prstGeom prst="rect">
            <a:avLst/>
          </a:prstGeom>
          <a:noFill/>
        </p:spPr>
        <p:txBody>
          <a:bodyPr wrap="none" lIns="0" rtlCol="0">
            <a:noAutofit/>
          </a:bodyPr>
          <a:lstStyle/>
          <a:p>
            <a:r>
              <a:rPr lang="da-DK" sz="1200" b="1"/>
              <a:t>Hovedbrancher i 2025, </a:t>
            </a:r>
            <a:r>
              <a:rPr lang="da-DK" sz="1200"/>
              <a:t>antal</a:t>
            </a:r>
          </a:p>
        </p:txBody>
      </p:sp>
      <p:cxnSp>
        <p:nvCxnSpPr>
          <p:cNvPr id="16" name="Straight Connector 15">
            <a:extLst>
              <a:ext uri="{FF2B5EF4-FFF2-40B4-BE49-F238E27FC236}">
                <a16:creationId xmlns:a16="http://schemas.microsoft.com/office/drawing/2014/main" id="{72F5A350-AB66-8E39-6423-42DA4BEBD280}"/>
              </a:ext>
            </a:extLst>
          </p:cNvPr>
          <p:cNvCxnSpPr>
            <a:cxnSpLocks/>
          </p:cNvCxnSpPr>
          <p:nvPr/>
        </p:nvCxnSpPr>
        <p:spPr>
          <a:xfrm>
            <a:off x="5144370" y="2168525"/>
            <a:ext cx="37043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68C3D5C-0CC5-C527-3C65-B8242C0C438D}"/>
              </a:ext>
            </a:extLst>
          </p:cNvPr>
          <p:cNvSpPr txBox="1"/>
          <p:nvPr/>
        </p:nvSpPr>
        <p:spPr>
          <a:xfrm>
            <a:off x="5151438" y="1900011"/>
            <a:ext cx="3454401" cy="268514"/>
          </a:xfrm>
          <a:prstGeom prst="rect">
            <a:avLst/>
          </a:prstGeom>
          <a:noFill/>
        </p:spPr>
        <p:txBody>
          <a:bodyPr wrap="none" lIns="0" rtlCol="0">
            <a:noAutofit/>
          </a:bodyPr>
          <a:lstStyle/>
          <a:p>
            <a:r>
              <a:rPr lang="da-DK" sz="1200" b="1"/>
              <a:t>Top 5 brancher indenfor IT og medier i 2025, </a:t>
            </a:r>
            <a:r>
              <a:rPr lang="da-DK" sz="1200"/>
              <a:t>antal</a:t>
            </a:r>
          </a:p>
        </p:txBody>
      </p:sp>
      <p:sp>
        <p:nvSpPr>
          <p:cNvPr id="35" name="Rectangle 34">
            <a:extLst>
              <a:ext uri="{FF2B5EF4-FFF2-40B4-BE49-F238E27FC236}">
                <a16:creationId xmlns:a16="http://schemas.microsoft.com/office/drawing/2014/main" id="{38645F8F-B9DF-4F5D-5910-292FD41B4659}"/>
              </a:ext>
            </a:extLst>
          </p:cNvPr>
          <p:cNvSpPr/>
          <p:nvPr>
            <p:custDataLst>
              <p:tags r:id="rId2"/>
            </p:custDataLst>
          </p:nvPr>
        </p:nvSpPr>
        <p:spPr bwMode="auto">
          <a:xfrm>
            <a:off x="482600" y="22193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Text Placeholder 2">
            <a:extLst>
              <a:ext uri="{FF2B5EF4-FFF2-40B4-BE49-F238E27FC236}">
                <a16:creationId xmlns:a16="http://schemas.microsoft.com/office/drawing/2014/main" id="{97245D0C-557E-8CEF-49C8-3FA85F4262D0}"/>
              </a:ext>
            </a:extLst>
          </p:cNvPr>
          <p:cNvSpPr>
            <a:spLocks noGrp="1"/>
          </p:cNvSpPr>
          <p:nvPr>
            <p:custDataLst>
              <p:tags r:id="rId3"/>
            </p:custDataLst>
          </p:nvPr>
        </p:nvSpPr>
        <p:spPr bwMode="auto">
          <a:xfrm>
            <a:off x="712787" y="2227263"/>
            <a:ext cx="143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F5819D-A845-4BF2-8555-5F4EF7315548}" type="datetime'''Nysti''''fte''''''''''''d''e'''' virk''''''somhed''''er'''''">
              <a:rPr lang="da-DK" altLang="en-US" sz="1000" smtClean="0">
                <a:latin typeface="+mn-lt"/>
              </a:rPr>
              <a:pPr marL="0" indent="0">
                <a:spcBef>
                  <a:spcPct val="0"/>
                </a:spcBef>
                <a:spcAft>
                  <a:spcPct val="0"/>
                </a:spcAft>
                <a:buNone/>
              </a:pPr>
              <a:t>Nystiftede virksomheder</a:t>
            </a:fld>
            <a:endParaRPr lang="da-DK" sz="1000">
              <a:latin typeface="+mn-lt"/>
            </a:endParaRPr>
          </a:p>
        </p:txBody>
      </p:sp>
      <p:sp>
        <p:nvSpPr>
          <p:cNvPr id="37" name="TextBox 36">
            <a:extLst>
              <a:ext uri="{FF2B5EF4-FFF2-40B4-BE49-F238E27FC236}">
                <a16:creationId xmlns:a16="http://schemas.microsoft.com/office/drawing/2014/main" id="{9963EACE-47FA-C511-5B3B-4B0FDE606F87}"/>
              </a:ext>
            </a:extLst>
          </p:cNvPr>
          <p:cNvSpPr txBox="1"/>
          <p:nvPr/>
        </p:nvSpPr>
        <p:spPr>
          <a:xfrm>
            <a:off x="303647" y="2527341"/>
            <a:ext cx="1932782" cy="400110"/>
          </a:xfrm>
          <a:prstGeom prst="rect">
            <a:avLst/>
          </a:prstGeom>
          <a:noFill/>
        </p:spPr>
        <p:txBody>
          <a:bodyPr wrap="square" rtlCol="0">
            <a:spAutoFit/>
          </a:bodyPr>
          <a:lstStyle/>
          <a:p>
            <a:pPr algn="r"/>
            <a:r>
              <a:rPr lang="da-DK" sz="1000"/>
              <a:t>Rådgivning og forretningsservice</a:t>
            </a:r>
          </a:p>
        </p:txBody>
      </p:sp>
      <p:sp>
        <p:nvSpPr>
          <p:cNvPr id="38" name="TextBox 37">
            <a:extLst>
              <a:ext uri="{FF2B5EF4-FFF2-40B4-BE49-F238E27FC236}">
                <a16:creationId xmlns:a16="http://schemas.microsoft.com/office/drawing/2014/main" id="{1DC359CB-A6E9-E7AF-14C4-CBD000D65996}"/>
              </a:ext>
            </a:extLst>
          </p:cNvPr>
          <p:cNvSpPr txBox="1"/>
          <p:nvPr/>
        </p:nvSpPr>
        <p:spPr>
          <a:xfrm>
            <a:off x="303647" y="2921467"/>
            <a:ext cx="1932782" cy="400110"/>
          </a:xfrm>
          <a:prstGeom prst="rect">
            <a:avLst/>
          </a:prstGeom>
          <a:noFill/>
        </p:spPr>
        <p:txBody>
          <a:bodyPr wrap="square" rtlCol="0">
            <a:spAutoFit/>
          </a:bodyPr>
          <a:lstStyle/>
          <a:p>
            <a:pPr algn="r"/>
            <a:fld id="{6DF92DDA-1370-44BF-B717-C0222195E032}" type="datetime'''Hand''el,'' transport, overna''tning og r''''estaurante''r'">
              <a:rPr lang="da-DK" altLang="en-US" sz="1000" smtClean="0">
                <a:effectLst/>
              </a:rPr>
              <a:pPr algn="r"/>
              <a:t>Handel, transport, overnatning og restauranter</a:t>
            </a:fld>
            <a:endParaRPr lang="da-DK" sz="1000"/>
          </a:p>
        </p:txBody>
      </p:sp>
      <p:sp>
        <p:nvSpPr>
          <p:cNvPr id="39" name="TextBox 38">
            <a:extLst>
              <a:ext uri="{FF2B5EF4-FFF2-40B4-BE49-F238E27FC236}">
                <a16:creationId xmlns:a16="http://schemas.microsoft.com/office/drawing/2014/main" id="{40CFBC98-6588-30AF-0322-EC2D6D735403}"/>
              </a:ext>
            </a:extLst>
          </p:cNvPr>
          <p:cNvSpPr txBox="1"/>
          <p:nvPr/>
        </p:nvSpPr>
        <p:spPr>
          <a:xfrm>
            <a:off x="303647" y="3384221"/>
            <a:ext cx="1932782" cy="246221"/>
          </a:xfrm>
          <a:prstGeom prst="rect">
            <a:avLst/>
          </a:prstGeom>
          <a:noFill/>
        </p:spPr>
        <p:txBody>
          <a:bodyPr wrap="square" rtlCol="0">
            <a:spAutoFit/>
          </a:bodyPr>
          <a:lstStyle/>
          <a:p>
            <a:pPr algn="r"/>
            <a:fld id="{A3FEA4A8-87F2-43D2-81C0-017D05F5FD7A}" type="datetime'B''''''''''''y''g''g''e''''ri ''''''''og anl''''æ''g'">
              <a:rPr lang="da-DK" altLang="en-US" sz="1000" smtClean="0">
                <a:effectLst/>
              </a:rPr>
              <a:pPr algn="r"/>
              <a:t>Byggeri og anlæg</a:t>
            </a:fld>
            <a:endParaRPr lang="da-DK" sz="1000"/>
          </a:p>
        </p:txBody>
      </p:sp>
      <p:sp>
        <p:nvSpPr>
          <p:cNvPr id="40" name="TextBox 39">
            <a:extLst>
              <a:ext uri="{FF2B5EF4-FFF2-40B4-BE49-F238E27FC236}">
                <a16:creationId xmlns:a16="http://schemas.microsoft.com/office/drawing/2014/main" id="{DECCD471-AF3A-BB11-B32B-1BE617965C78}"/>
              </a:ext>
            </a:extLst>
          </p:cNvPr>
          <p:cNvSpPr txBox="1"/>
          <p:nvPr/>
        </p:nvSpPr>
        <p:spPr>
          <a:xfrm>
            <a:off x="303647" y="3776859"/>
            <a:ext cx="1932782" cy="246221"/>
          </a:xfrm>
          <a:prstGeom prst="rect">
            <a:avLst/>
          </a:prstGeom>
          <a:noFill/>
        </p:spPr>
        <p:txBody>
          <a:bodyPr wrap="square" rtlCol="0">
            <a:spAutoFit/>
          </a:bodyPr>
          <a:lstStyle/>
          <a:p>
            <a:pPr algn="r"/>
            <a:fld id="{88ABC0C7-D93E-47ED-8857-34276F2ABE61}" type="datetime'IT'' o''g ''m''''ed''''''i''''e''r'''''''">
              <a:rPr lang="da-DK" altLang="en-US" sz="1000" smtClean="0">
                <a:effectLst/>
              </a:rPr>
              <a:pPr algn="r"/>
              <a:t>IT og medier</a:t>
            </a:fld>
            <a:endParaRPr lang="da-DK" sz="1000"/>
          </a:p>
        </p:txBody>
      </p:sp>
      <p:sp>
        <p:nvSpPr>
          <p:cNvPr id="41" name="TextBox 40">
            <a:extLst>
              <a:ext uri="{FF2B5EF4-FFF2-40B4-BE49-F238E27FC236}">
                <a16:creationId xmlns:a16="http://schemas.microsoft.com/office/drawing/2014/main" id="{A75DBD4A-A784-B20F-E3A9-FF4DD9BF411A}"/>
              </a:ext>
            </a:extLst>
          </p:cNvPr>
          <p:cNvSpPr txBox="1"/>
          <p:nvPr/>
        </p:nvSpPr>
        <p:spPr>
          <a:xfrm>
            <a:off x="303647" y="4086298"/>
            <a:ext cx="1932782" cy="400110"/>
          </a:xfrm>
          <a:prstGeom prst="rect">
            <a:avLst/>
          </a:prstGeom>
          <a:noFill/>
        </p:spPr>
        <p:txBody>
          <a:bodyPr wrap="square" rtlCol="0">
            <a:spAutoFit/>
          </a:bodyPr>
          <a:lstStyle/>
          <a:p>
            <a:pPr algn="r"/>
            <a:fld id="{8040EDD5-3136-44AF-A98F-2DFEDB84B502}" type="datetime'Kultur, fritid, ''a''ut''o''repara''tion'' og anden se''rvice'">
              <a:rPr lang="da-DK" altLang="en-US" sz="1000" smtClean="0">
                <a:effectLst/>
              </a:rPr>
              <a:pPr algn="r"/>
              <a:t>Kultur, fritid, autoreparation og anden service</a:t>
            </a:fld>
            <a:endParaRPr lang="da-DK" sz="1000"/>
          </a:p>
        </p:txBody>
      </p:sp>
      <p:sp>
        <p:nvSpPr>
          <p:cNvPr id="42" name="TextBox 41">
            <a:extLst>
              <a:ext uri="{FF2B5EF4-FFF2-40B4-BE49-F238E27FC236}">
                <a16:creationId xmlns:a16="http://schemas.microsoft.com/office/drawing/2014/main" id="{2D223C56-EC81-60B4-AAE1-09AA920B8288}"/>
              </a:ext>
            </a:extLst>
          </p:cNvPr>
          <p:cNvSpPr txBox="1"/>
          <p:nvPr/>
        </p:nvSpPr>
        <p:spPr>
          <a:xfrm>
            <a:off x="303647" y="4475736"/>
            <a:ext cx="1932782" cy="400110"/>
          </a:xfrm>
          <a:prstGeom prst="rect">
            <a:avLst/>
          </a:prstGeom>
          <a:noFill/>
        </p:spPr>
        <p:txBody>
          <a:bodyPr wrap="square" rtlCol="0">
            <a:spAutoFit/>
          </a:bodyPr>
          <a:lstStyle/>
          <a:p>
            <a:pPr algn="r"/>
            <a:fld id="{A3F580AA-FE95-40FE-AC66-3319488F64BA}" type="datetime'Offentlig ''f''orvaltni''ng, unde''rvi''sning o''g ''sundhed'">
              <a:rPr lang="da-DK" altLang="en-US" sz="1000" smtClean="0">
                <a:effectLst/>
              </a:rPr>
              <a:pPr algn="r"/>
              <a:t>Offentlig forvaltning, undervisning og sundhed</a:t>
            </a:fld>
            <a:endParaRPr lang="da-DK" sz="1000"/>
          </a:p>
        </p:txBody>
      </p:sp>
      <p:sp>
        <p:nvSpPr>
          <p:cNvPr id="43" name="TextBox 42">
            <a:extLst>
              <a:ext uri="{FF2B5EF4-FFF2-40B4-BE49-F238E27FC236}">
                <a16:creationId xmlns:a16="http://schemas.microsoft.com/office/drawing/2014/main" id="{88999754-285B-1E25-5119-57CC9737515D}"/>
              </a:ext>
            </a:extLst>
          </p:cNvPr>
          <p:cNvSpPr txBox="1"/>
          <p:nvPr/>
        </p:nvSpPr>
        <p:spPr>
          <a:xfrm>
            <a:off x="303647" y="4868566"/>
            <a:ext cx="1932782" cy="400110"/>
          </a:xfrm>
          <a:prstGeom prst="rect">
            <a:avLst/>
          </a:prstGeom>
          <a:noFill/>
        </p:spPr>
        <p:txBody>
          <a:bodyPr wrap="square" rtlCol="0">
            <a:spAutoFit/>
          </a:bodyPr>
          <a:lstStyle/>
          <a:p>
            <a:pPr algn="r"/>
            <a:fld id="{88B67B98-258A-4ED9-B6B6-1E9B8830FA3C}" type="datetime'Handel'','' u''dlejning o''g administration af ej''endomme'''">
              <a:rPr lang="da-DK" altLang="en-US" sz="1000" smtClean="0">
                <a:effectLst/>
              </a:rPr>
              <a:pPr algn="r"/>
              <a:t>Handel, udlejning og administration af ejendomme</a:t>
            </a:fld>
            <a:endParaRPr lang="da-DK" sz="1000"/>
          </a:p>
        </p:txBody>
      </p:sp>
      <p:sp>
        <p:nvSpPr>
          <p:cNvPr id="44" name="TextBox 43">
            <a:extLst>
              <a:ext uri="{FF2B5EF4-FFF2-40B4-BE49-F238E27FC236}">
                <a16:creationId xmlns:a16="http://schemas.microsoft.com/office/drawing/2014/main" id="{F28FA0BF-1C26-AE76-2BD1-3C378790E768}"/>
              </a:ext>
            </a:extLst>
          </p:cNvPr>
          <p:cNvSpPr txBox="1"/>
          <p:nvPr/>
        </p:nvSpPr>
        <p:spPr>
          <a:xfrm>
            <a:off x="303647" y="5256415"/>
            <a:ext cx="1932782" cy="400110"/>
          </a:xfrm>
          <a:prstGeom prst="rect">
            <a:avLst/>
          </a:prstGeom>
          <a:noFill/>
        </p:spPr>
        <p:txBody>
          <a:bodyPr wrap="square" rtlCol="0">
            <a:spAutoFit/>
          </a:bodyPr>
          <a:lstStyle/>
          <a:p>
            <a:pPr algn="r"/>
            <a:fld id="{DE88683F-C4FC-4969-82AC-EF1E218CE0A6}" type="datetime'Ind''''ustri,'' forsyni''ng ''og ''råst''of''indv''inding'">
              <a:rPr lang="da-DK" altLang="en-US" sz="1000" smtClean="0">
                <a:effectLst/>
              </a:rPr>
              <a:pPr algn="r"/>
              <a:t>Industri, forsyning og råstofindvinding</a:t>
            </a:fld>
            <a:endParaRPr lang="da-DK" sz="1000"/>
          </a:p>
        </p:txBody>
      </p:sp>
      <p:sp>
        <p:nvSpPr>
          <p:cNvPr id="45" name="TextBox 44">
            <a:extLst>
              <a:ext uri="{FF2B5EF4-FFF2-40B4-BE49-F238E27FC236}">
                <a16:creationId xmlns:a16="http://schemas.microsoft.com/office/drawing/2014/main" id="{4E12291F-E81C-93AE-088C-F954412B4150}"/>
              </a:ext>
            </a:extLst>
          </p:cNvPr>
          <p:cNvSpPr txBox="1"/>
          <p:nvPr/>
        </p:nvSpPr>
        <p:spPr>
          <a:xfrm>
            <a:off x="303647" y="5725155"/>
            <a:ext cx="1932782" cy="246221"/>
          </a:xfrm>
          <a:prstGeom prst="rect">
            <a:avLst/>
          </a:prstGeom>
          <a:noFill/>
        </p:spPr>
        <p:txBody>
          <a:bodyPr wrap="square" rtlCol="0">
            <a:spAutoFit/>
          </a:bodyPr>
          <a:lstStyle/>
          <a:p>
            <a:pPr algn="r"/>
            <a:fld id="{6B1AB066-B0DC-4AF4-AEDF-C30B01D45EDC}" type="datetime'''Lan''''''dbrug'','' sk''''''o''''v''brug o''g ''fis''keri'''">
              <a:rPr lang="da-DK" altLang="en-US" sz="1000" smtClean="0">
                <a:effectLst/>
              </a:rPr>
              <a:pPr algn="r"/>
              <a:t>Landbrug, skovbrug og fiskeri</a:t>
            </a:fld>
            <a:endParaRPr lang="da-DK" sz="1000"/>
          </a:p>
        </p:txBody>
      </p:sp>
      <p:sp>
        <p:nvSpPr>
          <p:cNvPr id="46" name="TextBox 45">
            <a:extLst>
              <a:ext uri="{FF2B5EF4-FFF2-40B4-BE49-F238E27FC236}">
                <a16:creationId xmlns:a16="http://schemas.microsoft.com/office/drawing/2014/main" id="{E7F4ADDC-ABA2-EB16-BB03-EE4ABBE983A4}"/>
              </a:ext>
            </a:extLst>
          </p:cNvPr>
          <p:cNvSpPr txBox="1"/>
          <p:nvPr/>
        </p:nvSpPr>
        <p:spPr>
          <a:xfrm>
            <a:off x="303647" y="6107696"/>
            <a:ext cx="1932782" cy="246221"/>
          </a:xfrm>
          <a:prstGeom prst="rect">
            <a:avLst/>
          </a:prstGeom>
          <a:noFill/>
        </p:spPr>
        <p:txBody>
          <a:bodyPr wrap="square" rtlCol="0">
            <a:spAutoFit/>
          </a:bodyPr>
          <a:lstStyle/>
          <a:p>
            <a:pPr algn="r"/>
            <a:fld id="{6CC0A123-6E43-4C8A-A633-01B5AC28C6A5}" type="datetime'Fi''n''''an''s''''i''eri''ng ''og ''''fo''rsikri''n''''''g'''">
              <a:rPr lang="da-DK" altLang="en-US" sz="1000" smtClean="0">
                <a:effectLst/>
              </a:rPr>
              <a:pPr algn="r"/>
              <a:t>Finansiering og forsikring</a:t>
            </a:fld>
            <a:endParaRPr lang="da-DK" sz="1000"/>
          </a:p>
        </p:txBody>
      </p:sp>
      <p:graphicFrame>
        <p:nvGraphicFramePr>
          <p:cNvPr id="54" name="Chart 53">
            <a:extLst>
              <a:ext uri="{FF2B5EF4-FFF2-40B4-BE49-F238E27FC236}">
                <a16:creationId xmlns:a16="http://schemas.microsoft.com/office/drawing/2014/main" id="{868280B6-367C-E066-1C7E-4B8A277F069B}"/>
              </a:ext>
            </a:extLst>
          </p:cNvPr>
          <p:cNvGraphicFramePr/>
          <p:nvPr>
            <p:custDataLst>
              <p:tags r:id="rId4"/>
            </p:custDataLst>
            <p:extLst>
              <p:ext uri="{D42A27DB-BD31-4B8C-83A1-F6EECF244321}">
                <p14:modId xmlns:p14="http://schemas.microsoft.com/office/powerpoint/2010/main" val="3437110978"/>
              </p:ext>
            </p:extLst>
          </p:nvPr>
        </p:nvGraphicFramePr>
        <p:xfrm>
          <a:off x="6251575" y="2305050"/>
          <a:ext cx="1881188" cy="4344988"/>
        </p:xfrm>
        <a:graphic>
          <a:graphicData uri="http://schemas.openxmlformats.org/drawingml/2006/chart">
            <c:chart xmlns:c="http://schemas.openxmlformats.org/drawingml/2006/chart" xmlns:r="http://schemas.openxmlformats.org/officeDocument/2006/relationships" r:id="rId18"/>
          </a:graphicData>
        </a:graphic>
      </p:graphicFrame>
      <p:sp>
        <p:nvSpPr>
          <p:cNvPr id="89" name="Text Placeholder 2">
            <a:extLst>
              <a:ext uri="{FF2B5EF4-FFF2-40B4-BE49-F238E27FC236}">
                <a16:creationId xmlns:a16="http://schemas.microsoft.com/office/drawing/2014/main" id="{0EC23FEC-C59D-B4FC-1CB4-75092A7C6537}"/>
              </a:ext>
            </a:extLst>
          </p:cNvPr>
          <p:cNvSpPr>
            <a:spLocks noGrp="1"/>
          </p:cNvSpPr>
          <p:nvPr>
            <p:custDataLst>
              <p:tags r:id="rId5"/>
            </p:custDataLst>
          </p:nvPr>
        </p:nvSpPr>
        <p:spPr bwMode="auto">
          <a:xfrm>
            <a:off x="5476875" y="6030913"/>
            <a:ext cx="1212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1F081CF-391D-46A6-8104-6CFC55132163}" type="datetime'R''''''''esteren''de'''''' b''''''''''r''''a''''nc''h''''''er'">
              <a:rPr lang="da-DK" altLang="en-US" sz="1000" smtClean="0">
                <a:latin typeface="+mn-lt"/>
              </a:rPr>
              <a:pPr marL="0" indent="0" algn="r">
                <a:spcBef>
                  <a:spcPct val="0"/>
                </a:spcBef>
                <a:spcAft>
                  <a:spcPct val="0"/>
                </a:spcAft>
                <a:buNone/>
              </a:pPr>
              <a:t>Resterende brancher</a:t>
            </a:fld>
            <a:endParaRPr lang="da-DK" sz="1000">
              <a:latin typeface="+mn-lt"/>
            </a:endParaRPr>
          </a:p>
        </p:txBody>
      </p:sp>
      <p:sp>
        <p:nvSpPr>
          <p:cNvPr id="94" name="TextBox 93">
            <a:extLst>
              <a:ext uri="{FF2B5EF4-FFF2-40B4-BE49-F238E27FC236}">
                <a16:creationId xmlns:a16="http://schemas.microsoft.com/office/drawing/2014/main" id="{F0EA4325-F1D1-B4B1-79AF-134E10BBBF06}"/>
              </a:ext>
            </a:extLst>
          </p:cNvPr>
          <p:cNvSpPr txBox="1"/>
          <p:nvPr/>
        </p:nvSpPr>
        <p:spPr>
          <a:xfrm>
            <a:off x="4977247" y="2719259"/>
            <a:ext cx="1806575" cy="246221"/>
          </a:xfrm>
          <a:prstGeom prst="rect">
            <a:avLst/>
          </a:prstGeom>
          <a:noFill/>
        </p:spPr>
        <p:txBody>
          <a:bodyPr wrap="square" lIns="0" rIns="90000" rtlCol="0">
            <a:spAutoFit/>
          </a:bodyPr>
          <a:lstStyle/>
          <a:p>
            <a:pPr algn="r"/>
            <a:r>
              <a:rPr lang="da-DK" sz="1000"/>
              <a:t>Computerprogrammering</a:t>
            </a:r>
          </a:p>
        </p:txBody>
      </p:sp>
      <p:sp>
        <p:nvSpPr>
          <p:cNvPr id="95" name="TextBox 94">
            <a:extLst>
              <a:ext uri="{FF2B5EF4-FFF2-40B4-BE49-F238E27FC236}">
                <a16:creationId xmlns:a16="http://schemas.microsoft.com/office/drawing/2014/main" id="{876C8C21-BB67-E346-5E44-AD754D3F7810}"/>
              </a:ext>
            </a:extLst>
          </p:cNvPr>
          <p:cNvSpPr txBox="1"/>
          <p:nvPr/>
        </p:nvSpPr>
        <p:spPr>
          <a:xfrm>
            <a:off x="5151439" y="3219327"/>
            <a:ext cx="1632383" cy="553998"/>
          </a:xfrm>
          <a:prstGeom prst="rect">
            <a:avLst/>
          </a:prstGeom>
          <a:noFill/>
        </p:spPr>
        <p:txBody>
          <a:bodyPr wrap="square" lIns="0" rIns="90000" rtlCol="0">
            <a:spAutoFit/>
          </a:bodyPr>
          <a:lstStyle/>
          <a:p>
            <a:pPr algn="r"/>
            <a:r>
              <a:rPr lang="da-DK" sz="1000"/>
              <a:t>Computerkonsulent-bistand og forvaltning af computerfaciliteter</a:t>
            </a:r>
          </a:p>
        </p:txBody>
      </p:sp>
      <p:sp>
        <p:nvSpPr>
          <p:cNvPr id="96" name="TextBox 95">
            <a:extLst>
              <a:ext uri="{FF2B5EF4-FFF2-40B4-BE49-F238E27FC236}">
                <a16:creationId xmlns:a16="http://schemas.microsoft.com/office/drawing/2014/main" id="{ABAA4CC9-9C6D-98A1-9F0E-76E2B8F7B508}"/>
              </a:ext>
            </a:extLst>
          </p:cNvPr>
          <p:cNvSpPr txBox="1"/>
          <p:nvPr/>
        </p:nvSpPr>
        <p:spPr>
          <a:xfrm>
            <a:off x="5120122" y="3947531"/>
            <a:ext cx="1663700" cy="400110"/>
          </a:xfrm>
          <a:prstGeom prst="rect">
            <a:avLst/>
          </a:prstGeom>
          <a:noFill/>
        </p:spPr>
        <p:txBody>
          <a:bodyPr wrap="square" lIns="0" rIns="90000" rtlCol="0">
            <a:spAutoFit/>
          </a:bodyPr>
          <a:lstStyle/>
          <a:p>
            <a:pPr algn="r"/>
            <a:r>
              <a:rPr lang="da-DK" sz="1000"/>
              <a:t>Produktion af film, videoer og </a:t>
            </a:r>
            <a:r>
              <a:rPr lang="da-DK" sz="1000" err="1"/>
              <a:t>TV-programmer</a:t>
            </a:r>
            <a:endParaRPr lang="da-DK" sz="1000"/>
          </a:p>
        </p:txBody>
      </p:sp>
      <p:sp>
        <p:nvSpPr>
          <p:cNvPr id="97" name="TextBox 96">
            <a:extLst>
              <a:ext uri="{FF2B5EF4-FFF2-40B4-BE49-F238E27FC236}">
                <a16:creationId xmlns:a16="http://schemas.microsoft.com/office/drawing/2014/main" id="{7B64B550-BD1F-B15F-EA48-75809A0108D6}"/>
              </a:ext>
            </a:extLst>
          </p:cNvPr>
          <p:cNvSpPr txBox="1"/>
          <p:nvPr/>
        </p:nvSpPr>
        <p:spPr>
          <a:xfrm>
            <a:off x="5120122" y="4598791"/>
            <a:ext cx="1663700" cy="400110"/>
          </a:xfrm>
          <a:prstGeom prst="rect">
            <a:avLst/>
          </a:prstGeom>
          <a:noFill/>
        </p:spPr>
        <p:txBody>
          <a:bodyPr wrap="square" lIns="0" rIns="90000" rtlCol="0">
            <a:spAutoFit/>
          </a:bodyPr>
          <a:lstStyle/>
          <a:p>
            <a:pPr algn="r"/>
            <a:r>
              <a:rPr lang="da-DK" sz="1000"/>
              <a:t>Anden udgivelse af software</a:t>
            </a:r>
          </a:p>
        </p:txBody>
      </p:sp>
      <p:sp>
        <p:nvSpPr>
          <p:cNvPr id="98" name="TextBox 97">
            <a:extLst>
              <a:ext uri="{FF2B5EF4-FFF2-40B4-BE49-F238E27FC236}">
                <a16:creationId xmlns:a16="http://schemas.microsoft.com/office/drawing/2014/main" id="{D7D42F1D-E07A-5201-6777-A83B525C6E38}"/>
              </a:ext>
            </a:extLst>
          </p:cNvPr>
          <p:cNvSpPr txBox="1"/>
          <p:nvPr/>
        </p:nvSpPr>
        <p:spPr>
          <a:xfrm>
            <a:off x="5195888" y="5166316"/>
            <a:ext cx="1567150" cy="553998"/>
          </a:xfrm>
          <a:prstGeom prst="rect">
            <a:avLst/>
          </a:prstGeom>
          <a:noFill/>
        </p:spPr>
        <p:txBody>
          <a:bodyPr wrap="square" lIns="0" rIns="90000" rtlCol="0">
            <a:spAutoFit/>
          </a:bodyPr>
          <a:lstStyle/>
          <a:p>
            <a:pPr algn="r"/>
            <a:r>
              <a:rPr lang="da-DK" sz="1000"/>
              <a:t>Indspilning af lydoptagelser og udgivelse af musik</a:t>
            </a:r>
          </a:p>
        </p:txBody>
      </p:sp>
      <p:cxnSp>
        <p:nvCxnSpPr>
          <p:cNvPr id="99" name="Straight Arrow Connector 98">
            <a:extLst>
              <a:ext uri="{FF2B5EF4-FFF2-40B4-BE49-F238E27FC236}">
                <a16:creationId xmlns:a16="http://schemas.microsoft.com/office/drawing/2014/main" id="{BD6C98BC-A699-5476-C5A4-6CC80F32DBC5}"/>
              </a:ext>
            </a:extLst>
          </p:cNvPr>
          <p:cNvCxnSpPr>
            <a:cxnSpLocks/>
          </p:cNvCxnSpPr>
          <p:nvPr/>
        </p:nvCxnSpPr>
        <p:spPr>
          <a:xfrm flipV="1">
            <a:off x="8340725" y="2753150"/>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74693FAB-096B-920F-B5D2-C938F00ECD5E}"/>
              </a:ext>
            </a:extLst>
          </p:cNvPr>
          <p:cNvCxnSpPr>
            <a:cxnSpLocks/>
          </p:cNvCxnSpPr>
          <p:nvPr/>
        </p:nvCxnSpPr>
        <p:spPr>
          <a:xfrm flipV="1">
            <a:off x="8340725" y="6009449"/>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8CD239AF-F82D-2D56-D333-37C01A16F85A}"/>
              </a:ext>
            </a:extLst>
          </p:cNvPr>
          <p:cNvCxnSpPr>
            <a:cxnSpLocks/>
          </p:cNvCxnSpPr>
          <p:nvPr/>
        </p:nvCxnSpPr>
        <p:spPr>
          <a:xfrm rot="10800000" flipV="1">
            <a:off x="8340725" y="3404410"/>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A34EF232-75BC-F0CD-6422-1167257ADF99}"/>
              </a:ext>
            </a:extLst>
          </p:cNvPr>
          <p:cNvCxnSpPr>
            <a:cxnSpLocks/>
          </p:cNvCxnSpPr>
          <p:nvPr/>
        </p:nvCxnSpPr>
        <p:spPr>
          <a:xfrm flipV="1">
            <a:off x="8340725" y="4056063"/>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370D83F-185E-C1BA-4528-471E88285704}"/>
              </a:ext>
            </a:extLst>
          </p:cNvPr>
          <p:cNvCxnSpPr>
            <a:cxnSpLocks/>
          </p:cNvCxnSpPr>
          <p:nvPr/>
        </p:nvCxnSpPr>
        <p:spPr>
          <a:xfrm flipV="1">
            <a:off x="8340725" y="4706938"/>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FD758EB-5CE4-7814-F50D-B9298874E02B}"/>
              </a:ext>
            </a:extLst>
          </p:cNvPr>
          <p:cNvCxnSpPr>
            <a:cxnSpLocks/>
          </p:cNvCxnSpPr>
          <p:nvPr/>
        </p:nvCxnSpPr>
        <p:spPr>
          <a:xfrm flipV="1">
            <a:off x="8340725" y="5358190"/>
            <a:ext cx="0" cy="18383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24E322A1-7139-6CF8-11DC-E9B3223F4669}"/>
              </a:ext>
            </a:extLst>
          </p:cNvPr>
          <p:cNvSpPr txBox="1"/>
          <p:nvPr/>
        </p:nvSpPr>
        <p:spPr>
          <a:xfrm>
            <a:off x="8340725" y="2721956"/>
            <a:ext cx="538163" cy="246221"/>
          </a:xfrm>
          <a:prstGeom prst="rect">
            <a:avLst/>
          </a:prstGeom>
          <a:noFill/>
        </p:spPr>
        <p:txBody>
          <a:bodyPr wrap="square" rtlCol="0">
            <a:spAutoFit/>
          </a:bodyPr>
          <a:lstStyle/>
          <a:p>
            <a:r>
              <a:rPr lang="da-DK" sz="1000"/>
              <a:t>+55%</a:t>
            </a:r>
          </a:p>
        </p:txBody>
      </p:sp>
      <p:sp>
        <p:nvSpPr>
          <p:cNvPr id="106" name="TextBox 105">
            <a:extLst>
              <a:ext uri="{FF2B5EF4-FFF2-40B4-BE49-F238E27FC236}">
                <a16:creationId xmlns:a16="http://schemas.microsoft.com/office/drawing/2014/main" id="{2208088F-D093-6F03-6A22-A2C815F48965}"/>
              </a:ext>
            </a:extLst>
          </p:cNvPr>
          <p:cNvSpPr txBox="1"/>
          <p:nvPr/>
        </p:nvSpPr>
        <p:spPr>
          <a:xfrm>
            <a:off x="8340725" y="5978255"/>
            <a:ext cx="538163" cy="246221"/>
          </a:xfrm>
          <a:prstGeom prst="rect">
            <a:avLst/>
          </a:prstGeom>
          <a:noFill/>
        </p:spPr>
        <p:txBody>
          <a:bodyPr wrap="square" rtlCol="0">
            <a:spAutoFit/>
          </a:bodyPr>
          <a:lstStyle/>
          <a:p>
            <a:r>
              <a:rPr lang="da-DK" sz="1000"/>
              <a:t>+20%</a:t>
            </a:r>
          </a:p>
        </p:txBody>
      </p:sp>
      <p:sp>
        <p:nvSpPr>
          <p:cNvPr id="107" name="TextBox 106">
            <a:extLst>
              <a:ext uri="{FF2B5EF4-FFF2-40B4-BE49-F238E27FC236}">
                <a16:creationId xmlns:a16="http://schemas.microsoft.com/office/drawing/2014/main" id="{E263E7F3-14F8-F8A8-9D78-AA549FD62E2A}"/>
              </a:ext>
            </a:extLst>
          </p:cNvPr>
          <p:cNvSpPr txBox="1"/>
          <p:nvPr/>
        </p:nvSpPr>
        <p:spPr>
          <a:xfrm>
            <a:off x="8340725" y="3373216"/>
            <a:ext cx="538163" cy="246221"/>
          </a:xfrm>
          <a:prstGeom prst="rect">
            <a:avLst/>
          </a:prstGeom>
          <a:noFill/>
        </p:spPr>
        <p:txBody>
          <a:bodyPr wrap="square" rtlCol="0">
            <a:spAutoFit/>
          </a:bodyPr>
          <a:lstStyle/>
          <a:p>
            <a:r>
              <a:rPr lang="da-DK" sz="1000"/>
              <a:t>-7%</a:t>
            </a:r>
          </a:p>
        </p:txBody>
      </p:sp>
      <p:sp>
        <p:nvSpPr>
          <p:cNvPr id="108" name="TextBox 107">
            <a:extLst>
              <a:ext uri="{FF2B5EF4-FFF2-40B4-BE49-F238E27FC236}">
                <a16:creationId xmlns:a16="http://schemas.microsoft.com/office/drawing/2014/main" id="{1E0F4952-3528-3503-22A8-7974FD2DC44B}"/>
              </a:ext>
            </a:extLst>
          </p:cNvPr>
          <p:cNvSpPr txBox="1"/>
          <p:nvPr/>
        </p:nvSpPr>
        <p:spPr>
          <a:xfrm>
            <a:off x="8340725" y="4024476"/>
            <a:ext cx="538163" cy="246221"/>
          </a:xfrm>
          <a:prstGeom prst="rect">
            <a:avLst/>
          </a:prstGeom>
          <a:noFill/>
        </p:spPr>
        <p:txBody>
          <a:bodyPr wrap="square" rtlCol="0">
            <a:spAutoFit/>
          </a:bodyPr>
          <a:lstStyle/>
          <a:p>
            <a:r>
              <a:rPr lang="da-DK" sz="1000"/>
              <a:t>+64%</a:t>
            </a:r>
          </a:p>
        </p:txBody>
      </p:sp>
      <p:sp>
        <p:nvSpPr>
          <p:cNvPr id="109" name="TextBox 108">
            <a:extLst>
              <a:ext uri="{FF2B5EF4-FFF2-40B4-BE49-F238E27FC236}">
                <a16:creationId xmlns:a16="http://schemas.microsoft.com/office/drawing/2014/main" id="{02BC54E0-59E2-4F0C-B909-925E4D5F1278}"/>
              </a:ext>
            </a:extLst>
          </p:cNvPr>
          <p:cNvSpPr txBox="1"/>
          <p:nvPr/>
        </p:nvSpPr>
        <p:spPr>
          <a:xfrm>
            <a:off x="8340725" y="4675736"/>
            <a:ext cx="538163" cy="246221"/>
          </a:xfrm>
          <a:prstGeom prst="rect">
            <a:avLst/>
          </a:prstGeom>
          <a:noFill/>
        </p:spPr>
        <p:txBody>
          <a:bodyPr wrap="square" rtlCol="0">
            <a:spAutoFit/>
          </a:bodyPr>
          <a:lstStyle/>
          <a:p>
            <a:r>
              <a:rPr lang="da-DK" sz="1000"/>
              <a:t>+44%</a:t>
            </a:r>
          </a:p>
        </p:txBody>
      </p:sp>
      <p:sp>
        <p:nvSpPr>
          <p:cNvPr id="110" name="TextBox 109">
            <a:extLst>
              <a:ext uri="{FF2B5EF4-FFF2-40B4-BE49-F238E27FC236}">
                <a16:creationId xmlns:a16="http://schemas.microsoft.com/office/drawing/2014/main" id="{C2D3B109-17A0-EF95-41B5-7029276720D3}"/>
              </a:ext>
            </a:extLst>
          </p:cNvPr>
          <p:cNvSpPr txBox="1"/>
          <p:nvPr/>
        </p:nvSpPr>
        <p:spPr>
          <a:xfrm>
            <a:off x="8340725" y="5326996"/>
            <a:ext cx="538163" cy="246221"/>
          </a:xfrm>
          <a:prstGeom prst="rect">
            <a:avLst/>
          </a:prstGeom>
          <a:noFill/>
        </p:spPr>
        <p:txBody>
          <a:bodyPr wrap="square" rtlCol="0">
            <a:spAutoFit/>
          </a:bodyPr>
          <a:lstStyle/>
          <a:p>
            <a:r>
              <a:rPr lang="da-DK" sz="1000"/>
              <a:t>+38%</a:t>
            </a:r>
          </a:p>
        </p:txBody>
      </p:sp>
      <p:cxnSp>
        <p:nvCxnSpPr>
          <p:cNvPr id="111" name="Straight Connector 110">
            <a:extLst>
              <a:ext uri="{FF2B5EF4-FFF2-40B4-BE49-F238E27FC236}">
                <a16:creationId xmlns:a16="http://schemas.microsoft.com/office/drawing/2014/main" id="{2F679893-F952-13EA-A327-87EB10DCC473}"/>
              </a:ext>
            </a:extLst>
          </p:cNvPr>
          <p:cNvCxnSpPr>
            <a:cxnSpLocks/>
          </p:cNvCxnSpPr>
          <p:nvPr/>
        </p:nvCxnSpPr>
        <p:spPr>
          <a:xfrm>
            <a:off x="5145087" y="2514600"/>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477F9CD-284A-1BFB-ADD9-D4885294492F}"/>
              </a:ext>
            </a:extLst>
          </p:cNvPr>
          <p:cNvCxnSpPr>
            <a:cxnSpLocks/>
          </p:cNvCxnSpPr>
          <p:nvPr/>
        </p:nvCxnSpPr>
        <p:spPr>
          <a:xfrm>
            <a:off x="5145087" y="6426200"/>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ABDCB17-7880-72BC-9AF1-08933E94D0C4}"/>
              </a:ext>
            </a:extLst>
          </p:cNvPr>
          <p:cNvCxnSpPr>
            <a:cxnSpLocks/>
          </p:cNvCxnSpPr>
          <p:nvPr/>
        </p:nvCxnSpPr>
        <p:spPr>
          <a:xfrm>
            <a:off x="5145087" y="3169902"/>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7405415-39F0-B144-5299-430D7D8E41B3}"/>
              </a:ext>
            </a:extLst>
          </p:cNvPr>
          <p:cNvCxnSpPr>
            <a:cxnSpLocks/>
          </p:cNvCxnSpPr>
          <p:nvPr/>
        </p:nvCxnSpPr>
        <p:spPr>
          <a:xfrm>
            <a:off x="5145087" y="3821162"/>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FCC2F3F-FA94-128A-D8C8-C3A29286E1C1}"/>
              </a:ext>
            </a:extLst>
          </p:cNvPr>
          <p:cNvCxnSpPr>
            <a:cxnSpLocks/>
          </p:cNvCxnSpPr>
          <p:nvPr/>
        </p:nvCxnSpPr>
        <p:spPr>
          <a:xfrm>
            <a:off x="5145087" y="4472422"/>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4F2A7BC-6D8C-51AB-4609-D0523E78125F}"/>
              </a:ext>
            </a:extLst>
          </p:cNvPr>
          <p:cNvCxnSpPr>
            <a:cxnSpLocks/>
          </p:cNvCxnSpPr>
          <p:nvPr/>
        </p:nvCxnSpPr>
        <p:spPr>
          <a:xfrm>
            <a:off x="5145087" y="5123682"/>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EA6E2D5-4D24-C436-4AAA-CBE2BFD08007}"/>
              </a:ext>
            </a:extLst>
          </p:cNvPr>
          <p:cNvCxnSpPr>
            <a:cxnSpLocks/>
          </p:cNvCxnSpPr>
          <p:nvPr/>
        </p:nvCxnSpPr>
        <p:spPr>
          <a:xfrm>
            <a:off x="5145087" y="5774942"/>
            <a:ext cx="37036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817ADC6D-6B6C-6538-E427-F63B8D506B22}"/>
              </a:ext>
            </a:extLst>
          </p:cNvPr>
          <p:cNvSpPr txBox="1"/>
          <p:nvPr/>
        </p:nvSpPr>
        <p:spPr>
          <a:xfrm>
            <a:off x="7959009" y="2151293"/>
            <a:ext cx="917575" cy="400110"/>
          </a:xfrm>
          <a:prstGeom prst="rect">
            <a:avLst/>
          </a:prstGeom>
          <a:noFill/>
        </p:spPr>
        <p:txBody>
          <a:bodyPr wrap="square" rtlCol="0">
            <a:spAutoFit/>
          </a:bodyPr>
          <a:lstStyle/>
          <a:p>
            <a:pPr algn="r"/>
            <a:r>
              <a:rPr lang="da-DK" sz="1000"/>
              <a:t>Ændring</a:t>
            </a:r>
          </a:p>
          <a:p>
            <a:pPr algn="r"/>
            <a:r>
              <a:rPr lang="da-DK" sz="1000"/>
              <a:t>2024-25:</a:t>
            </a:r>
          </a:p>
        </p:txBody>
      </p:sp>
      <p:sp>
        <p:nvSpPr>
          <p:cNvPr id="119" name="Rectangle 118">
            <a:extLst>
              <a:ext uri="{FF2B5EF4-FFF2-40B4-BE49-F238E27FC236}">
                <a16:creationId xmlns:a16="http://schemas.microsoft.com/office/drawing/2014/main" id="{3D0AAC2E-1497-7F38-8F07-E1D64B5A66D2}"/>
              </a:ext>
            </a:extLst>
          </p:cNvPr>
          <p:cNvSpPr/>
          <p:nvPr>
            <p:custDataLst>
              <p:tags r:id="rId6"/>
            </p:custDataLst>
          </p:nvPr>
        </p:nvSpPr>
        <p:spPr bwMode="auto">
          <a:xfrm>
            <a:off x="5195888" y="2219325"/>
            <a:ext cx="179388" cy="1333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 name="Rectangle 119">
            <a:extLst>
              <a:ext uri="{FF2B5EF4-FFF2-40B4-BE49-F238E27FC236}">
                <a16:creationId xmlns:a16="http://schemas.microsoft.com/office/drawing/2014/main" id="{B1797177-68E8-FE9E-D034-AF7C552EC662}"/>
              </a:ext>
            </a:extLst>
          </p:cNvPr>
          <p:cNvSpPr/>
          <p:nvPr>
            <p:custDataLst>
              <p:tags r:id="rId7"/>
            </p:custDataLst>
          </p:nvPr>
        </p:nvSpPr>
        <p:spPr bwMode="auto">
          <a:xfrm>
            <a:off x="5832475" y="22193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 name="Text Placeholder 2">
            <a:extLst>
              <a:ext uri="{FF2B5EF4-FFF2-40B4-BE49-F238E27FC236}">
                <a16:creationId xmlns:a16="http://schemas.microsoft.com/office/drawing/2014/main" id="{ED1FD3A2-0EE2-B0EB-5EA6-02701B7A7BE2}"/>
              </a:ext>
            </a:extLst>
          </p:cNvPr>
          <p:cNvSpPr>
            <a:spLocks noGrp="1"/>
          </p:cNvSpPr>
          <p:nvPr>
            <p:custDataLst>
              <p:tags r:id="rId8"/>
            </p:custDataLst>
          </p:nvPr>
        </p:nvSpPr>
        <p:spPr bwMode="auto">
          <a:xfrm>
            <a:off x="5426075" y="22272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348258C-5EAD-4BD4-9EB4-6E391139C7B2}" type="datetime'''''''''''''2''''''0''''''''''''''''''''24'''''''''''''''">
              <a:rPr lang="en-GB" altLang="en-US" sz="1000" smtClean="0">
                <a:latin typeface="+mn-lt"/>
              </a:rPr>
              <a:pPr marL="0" indent="0">
                <a:spcBef>
                  <a:spcPct val="0"/>
                </a:spcBef>
                <a:spcAft>
                  <a:spcPct val="0"/>
                </a:spcAft>
                <a:buNone/>
              </a:pPr>
              <a:t>2024</a:t>
            </a:fld>
            <a:endParaRPr lang="da-DK" sz="1000">
              <a:latin typeface="+mn-lt"/>
            </a:endParaRPr>
          </a:p>
        </p:txBody>
      </p:sp>
      <p:sp>
        <p:nvSpPr>
          <p:cNvPr id="122" name="Text Placeholder 2">
            <a:extLst>
              <a:ext uri="{FF2B5EF4-FFF2-40B4-BE49-F238E27FC236}">
                <a16:creationId xmlns:a16="http://schemas.microsoft.com/office/drawing/2014/main" id="{AD0FD3A1-0D25-96D4-512D-F9C70C714D31}"/>
              </a:ext>
            </a:extLst>
          </p:cNvPr>
          <p:cNvSpPr>
            <a:spLocks noGrp="1"/>
          </p:cNvSpPr>
          <p:nvPr>
            <p:custDataLst>
              <p:tags r:id="rId9"/>
            </p:custDataLst>
          </p:nvPr>
        </p:nvSpPr>
        <p:spPr bwMode="auto">
          <a:xfrm>
            <a:off x="6062663" y="22272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4BE0625-1E97-4409-AB65-2B2D2F40CBDE}" type="datetime'''''''''''''2''''''''''''''0''''2''''''''5'''''''''''''''">
              <a:rPr lang="en-GB" altLang="en-US" sz="1000" smtClean="0">
                <a:latin typeface="+mn-lt"/>
              </a:rPr>
              <a:pPr marL="0" indent="0">
                <a:spcBef>
                  <a:spcPct val="0"/>
                </a:spcBef>
                <a:spcAft>
                  <a:spcPct val="0"/>
                </a:spcAft>
                <a:buNone/>
              </a:pPr>
              <a:t>2025</a:t>
            </a:fld>
            <a:endParaRPr lang="da-DK" sz="1000">
              <a:latin typeface="+mn-lt"/>
            </a:endParaRPr>
          </a:p>
        </p:txBody>
      </p:sp>
      <p:cxnSp>
        <p:nvCxnSpPr>
          <p:cNvPr id="135" name="Straight Connector 134">
            <a:extLst>
              <a:ext uri="{FF2B5EF4-FFF2-40B4-BE49-F238E27FC236}">
                <a16:creationId xmlns:a16="http://schemas.microsoft.com/office/drawing/2014/main" id="{ACBECCDA-E917-556D-AD9D-1CFA08672D8F}"/>
              </a:ext>
            </a:extLst>
          </p:cNvPr>
          <p:cNvCxnSpPr>
            <a:cxnSpLocks/>
          </p:cNvCxnSpPr>
          <p:nvPr/>
        </p:nvCxnSpPr>
        <p:spPr>
          <a:xfrm>
            <a:off x="5008709" y="2168525"/>
            <a:ext cx="0" cy="42560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5CE9DF4-8FB0-BD59-6703-DD192B9088CE}"/>
              </a:ext>
            </a:extLst>
          </p:cNvPr>
          <p:cNvSpPr txBox="1"/>
          <p:nvPr/>
        </p:nvSpPr>
        <p:spPr>
          <a:xfrm>
            <a:off x="10815638" y="6424613"/>
            <a:ext cx="942975" cy="246221"/>
          </a:xfrm>
          <a:prstGeom prst="rect">
            <a:avLst/>
          </a:prstGeom>
          <a:noFill/>
        </p:spPr>
        <p:txBody>
          <a:bodyPr wrap="square" rtlCol="0">
            <a:spAutoFit/>
          </a:bodyPr>
          <a:lstStyle/>
          <a:p>
            <a:pPr algn="r"/>
            <a:r>
              <a:rPr lang="en-GB" sz="1000"/>
              <a:t>9</a:t>
            </a:r>
          </a:p>
        </p:txBody>
      </p:sp>
      <p:sp>
        <p:nvSpPr>
          <p:cNvPr id="246" name="Rectangle: Rounded Corners 245">
            <a:extLst>
              <a:ext uri="{FF2B5EF4-FFF2-40B4-BE49-F238E27FC236}">
                <a16:creationId xmlns:a16="http://schemas.microsoft.com/office/drawing/2014/main" id="{9EC8517E-81E3-3CA8-B2BA-C8BA80E2E088}"/>
              </a:ext>
            </a:extLst>
          </p:cNvPr>
          <p:cNvSpPr/>
          <p:nvPr/>
        </p:nvSpPr>
        <p:spPr>
          <a:xfrm>
            <a:off x="4343138" y="6130553"/>
            <a:ext cx="420653" cy="216642"/>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12%</a:t>
            </a:r>
          </a:p>
        </p:txBody>
      </p:sp>
      <p:sp>
        <p:nvSpPr>
          <p:cNvPr id="247" name="Rectangle: Rounded Corners 246">
            <a:extLst>
              <a:ext uri="{FF2B5EF4-FFF2-40B4-BE49-F238E27FC236}">
                <a16:creationId xmlns:a16="http://schemas.microsoft.com/office/drawing/2014/main" id="{CC94C179-9AD7-7E0A-6955-F141FAE523C8}"/>
              </a:ext>
            </a:extLst>
          </p:cNvPr>
          <p:cNvSpPr/>
          <p:nvPr/>
        </p:nvSpPr>
        <p:spPr>
          <a:xfrm>
            <a:off x="4343138" y="3026974"/>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9%</a:t>
            </a:r>
          </a:p>
        </p:txBody>
      </p:sp>
      <p:sp>
        <p:nvSpPr>
          <p:cNvPr id="248" name="Rectangle: Rounded Corners 247">
            <a:extLst>
              <a:ext uri="{FF2B5EF4-FFF2-40B4-BE49-F238E27FC236}">
                <a16:creationId xmlns:a16="http://schemas.microsoft.com/office/drawing/2014/main" id="{8A975FB7-C5E9-0B1C-A7F7-C7907C18D138}"/>
              </a:ext>
            </a:extLst>
          </p:cNvPr>
          <p:cNvSpPr/>
          <p:nvPr/>
        </p:nvSpPr>
        <p:spPr>
          <a:xfrm>
            <a:off x="4343138" y="3414921"/>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11%</a:t>
            </a:r>
          </a:p>
        </p:txBody>
      </p:sp>
      <p:sp>
        <p:nvSpPr>
          <p:cNvPr id="249" name="Rectangle: Rounded Corners 248">
            <a:extLst>
              <a:ext uri="{FF2B5EF4-FFF2-40B4-BE49-F238E27FC236}">
                <a16:creationId xmlns:a16="http://schemas.microsoft.com/office/drawing/2014/main" id="{486542F4-72AD-EC4E-2AFD-1CE408C4D19A}"/>
              </a:ext>
            </a:extLst>
          </p:cNvPr>
          <p:cNvSpPr/>
          <p:nvPr/>
        </p:nvSpPr>
        <p:spPr>
          <a:xfrm>
            <a:off x="4343138" y="3802868"/>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25%</a:t>
            </a:r>
          </a:p>
        </p:txBody>
      </p:sp>
      <p:sp>
        <p:nvSpPr>
          <p:cNvPr id="250" name="Rectangle: Rounded Corners 249">
            <a:extLst>
              <a:ext uri="{FF2B5EF4-FFF2-40B4-BE49-F238E27FC236}">
                <a16:creationId xmlns:a16="http://schemas.microsoft.com/office/drawing/2014/main" id="{6C0EDFD3-74B9-9C00-E483-BD9137AA1B24}"/>
              </a:ext>
            </a:extLst>
          </p:cNvPr>
          <p:cNvSpPr/>
          <p:nvPr/>
        </p:nvSpPr>
        <p:spPr>
          <a:xfrm>
            <a:off x="4343138" y="4190815"/>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1%</a:t>
            </a:r>
          </a:p>
        </p:txBody>
      </p:sp>
      <p:sp>
        <p:nvSpPr>
          <p:cNvPr id="251" name="Rectangle: Rounded Corners 250">
            <a:extLst>
              <a:ext uri="{FF2B5EF4-FFF2-40B4-BE49-F238E27FC236}">
                <a16:creationId xmlns:a16="http://schemas.microsoft.com/office/drawing/2014/main" id="{3CD32881-D660-1335-6EC5-32FD856E0461}"/>
              </a:ext>
            </a:extLst>
          </p:cNvPr>
          <p:cNvSpPr/>
          <p:nvPr/>
        </p:nvSpPr>
        <p:spPr>
          <a:xfrm>
            <a:off x="4343138" y="4578762"/>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5%</a:t>
            </a:r>
          </a:p>
        </p:txBody>
      </p:sp>
      <p:sp>
        <p:nvSpPr>
          <p:cNvPr id="252" name="Rectangle: Rounded Corners 251">
            <a:extLst>
              <a:ext uri="{FF2B5EF4-FFF2-40B4-BE49-F238E27FC236}">
                <a16:creationId xmlns:a16="http://schemas.microsoft.com/office/drawing/2014/main" id="{1809D08D-0F2F-9DAB-4FDF-D963B15DF716}"/>
              </a:ext>
            </a:extLst>
          </p:cNvPr>
          <p:cNvSpPr/>
          <p:nvPr/>
        </p:nvSpPr>
        <p:spPr>
          <a:xfrm>
            <a:off x="4343138" y="4966709"/>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14%</a:t>
            </a:r>
          </a:p>
        </p:txBody>
      </p:sp>
      <p:sp>
        <p:nvSpPr>
          <p:cNvPr id="253" name="Rectangle: Rounded Corners 252">
            <a:extLst>
              <a:ext uri="{FF2B5EF4-FFF2-40B4-BE49-F238E27FC236}">
                <a16:creationId xmlns:a16="http://schemas.microsoft.com/office/drawing/2014/main" id="{B2CD925C-6257-C6BE-2978-48CB460C2797}"/>
              </a:ext>
            </a:extLst>
          </p:cNvPr>
          <p:cNvSpPr/>
          <p:nvPr/>
        </p:nvSpPr>
        <p:spPr>
          <a:xfrm>
            <a:off x="4343138" y="5354656"/>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7%</a:t>
            </a:r>
          </a:p>
        </p:txBody>
      </p:sp>
      <p:sp>
        <p:nvSpPr>
          <p:cNvPr id="254" name="Rectangle: Rounded Corners 253">
            <a:extLst>
              <a:ext uri="{FF2B5EF4-FFF2-40B4-BE49-F238E27FC236}">
                <a16:creationId xmlns:a16="http://schemas.microsoft.com/office/drawing/2014/main" id="{E26C1737-4BCE-C80A-CCD6-584E67C489E4}"/>
              </a:ext>
            </a:extLst>
          </p:cNvPr>
          <p:cNvSpPr/>
          <p:nvPr/>
        </p:nvSpPr>
        <p:spPr>
          <a:xfrm>
            <a:off x="4343138" y="5742603"/>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11%</a:t>
            </a:r>
          </a:p>
        </p:txBody>
      </p:sp>
      <p:sp>
        <p:nvSpPr>
          <p:cNvPr id="245" name="Rectangle: Rounded Corners 244">
            <a:extLst>
              <a:ext uri="{FF2B5EF4-FFF2-40B4-BE49-F238E27FC236}">
                <a16:creationId xmlns:a16="http://schemas.microsoft.com/office/drawing/2014/main" id="{19A2A13F-CB27-150A-934F-C53816A0AA10}"/>
              </a:ext>
            </a:extLst>
          </p:cNvPr>
          <p:cNvSpPr/>
          <p:nvPr/>
        </p:nvSpPr>
        <p:spPr>
          <a:xfrm>
            <a:off x="4343138" y="2639027"/>
            <a:ext cx="420688" cy="204837"/>
          </a:xfrm>
          <a:prstGeom prst="roundRect">
            <a:avLst/>
          </a:prstGeom>
          <a:solidFill>
            <a:schemeClr val="tx2">
              <a:alpha val="8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bg1"/>
                </a:solidFill>
              </a:rPr>
              <a:t> +7%</a:t>
            </a:r>
          </a:p>
        </p:txBody>
      </p:sp>
      <p:grpSp>
        <p:nvGrpSpPr>
          <p:cNvPr id="12" name="Group 392">
            <a:extLst>
              <a:ext uri="{FF2B5EF4-FFF2-40B4-BE49-F238E27FC236}">
                <a16:creationId xmlns:a16="http://schemas.microsoft.com/office/drawing/2014/main" id="{F832805C-D20A-4FCF-F5D9-EE5699B28098}"/>
              </a:ext>
            </a:extLst>
          </p:cNvPr>
          <p:cNvGrpSpPr/>
          <p:nvPr/>
        </p:nvGrpSpPr>
        <p:grpSpPr>
          <a:xfrm>
            <a:off x="4909752" y="3794481"/>
            <a:ext cx="217170" cy="217170"/>
            <a:chOff x="9214357" y="1352550"/>
            <a:chExt cx="396240" cy="396240"/>
          </a:xfrm>
          <a:solidFill>
            <a:schemeClr val="accent3"/>
          </a:solidFill>
        </p:grpSpPr>
        <p:sp>
          <p:nvSpPr>
            <p:cNvPr id="15" name="object 58">
              <a:extLst>
                <a:ext uri="{FF2B5EF4-FFF2-40B4-BE49-F238E27FC236}">
                  <a16:creationId xmlns:a16="http://schemas.microsoft.com/office/drawing/2014/main" id="{E1470637-469D-FAF5-4028-0DD7EFD7E3EA}"/>
                </a:ext>
              </a:extLst>
            </p:cNvPr>
            <p:cNvSpPr/>
            <p:nvPr/>
          </p:nvSpPr>
          <p:spPr>
            <a:xfrm>
              <a:off x="9214357" y="1352550"/>
              <a:ext cx="396240" cy="396240"/>
            </a:xfrm>
            <a:custGeom>
              <a:avLst/>
              <a:gdLst/>
              <a:ahLst/>
              <a:cxnLst/>
              <a:rect l="l" t="t" r="r" b="b"/>
              <a:pathLst>
                <a:path w="396240" h="396239">
                  <a:moveTo>
                    <a:pt x="198120" y="0"/>
                  </a:moveTo>
                  <a:lnTo>
                    <a:pt x="152715" y="5229"/>
                  </a:lnTo>
                  <a:lnTo>
                    <a:pt x="111023" y="20127"/>
                  </a:lnTo>
                  <a:lnTo>
                    <a:pt x="74236" y="43507"/>
                  </a:lnTo>
                  <a:lnTo>
                    <a:pt x="43547" y="74182"/>
                  </a:lnTo>
                  <a:lnTo>
                    <a:pt x="20149" y="110967"/>
                  </a:lnTo>
                  <a:lnTo>
                    <a:pt x="5236" y="152675"/>
                  </a:lnTo>
                  <a:lnTo>
                    <a:pt x="0" y="198120"/>
                  </a:lnTo>
                  <a:lnTo>
                    <a:pt x="5236" y="243524"/>
                  </a:lnTo>
                  <a:lnTo>
                    <a:pt x="20149" y="285216"/>
                  </a:lnTo>
                  <a:lnTo>
                    <a:pt x="43547" y="322003"/>
                  </a:lnTo>
                  <a:lnTo>
                    <a:pt x="74236" y="352692"/>
                  </a:lnTo>
                  <a:lnTo>
                    <a:pt x="111023" y="376090"/>
                  </a:lnTo>
                  <a:lnTo>
                    <a:pt x="152715" y="391003"/>
                  </a:lnTo>
                  <a:lnTo>
                    <a:pt x="198120" y="396239"/>
                  </a:lnTo>
                  <a:lnTo>
                    <a:pt x="243564" y="391003"/>
                  </a:lnTo>
                  <a:lnTo>
                    <a:pt x="285272" y="376090"/>
                  </a:lnTo>
                  <a:lnTo>
                    <a:pt x="322057" y="352692"/>
                  </a:lnTo>
                  <a:lnTo>
                    <a:pt x="352732" y="322003"/>
                  </a:lnTo>
                  <a:lnTo>
                    <a:pt x="376112" y="285216"/>
                  </a:lnTo>
                  <a:lnTo>
                    <a:pt x="391010" y="243524"/>
                  </a:lnTo>
                  <a:lnTo>
                    <a:pt x="396240" y="198120"/>
                  </a:lnTo>
                  <a:lnTo>
                    <a:pt x="391010" y="152675"/>
                  </a:lnTo>
                  <a:lnTo>
                    <a:pt x="376112" y="110967"/>
                  </a:lnTo>
                  <a:lnTo>
                    <a:pt x="352732" y="74182"/>
                  </a:lnTo>
                  <a:lnTo>
                    <a:pt x="322057" y="43507"/>
                  </a:lnTo>
                  <a:lnTo>
                    <a:pt x="285272" y="20127"/>
                  </a:lnTo>
                  <a:lnTo>
                    <a:pt x="243564" y="5229"/>
                  </a:lnTo>
                  <a:lnTo>
                    <a:pt x="198120" y="0"/>
                  </a:lnTo>
                  <a:close/>
                </a:path>
              </a:pathLst>
            </a:custGeom>
            <a:grpFill/>
          </p:spPr>
          <p:txBody>
            <a:bodyPr wrap="square" lIns="0" tIns="0" rIns="0" bIns="0" rtlCol="0"/>
            <a:lstStyle/>
            <a:p>
              <a:endParaRPr lang="en-GB"/>
            </a:p>
          </p:txBody>
        </p:sp>
        <p:sp>
          <p:nvSpPr>
            <p:cNvPr id="18" name="object 59">
              <a:extLst>
                <a:ext uri="{FF2B5EF4-FFF2-40B4-BE49-F238E27FC236}">
                  <a16:creationId xmlns:a16="http://schemas.microsoft.com/office/drawing/2014/main" id="{F57ECAB4-4BEE-ABC5-EBAD-254AE60C6352}"/>
                </a:ext>
              </a:extLst>
            </p:cNvPr>
            <p:cNvSpPr/>
            <p:nvPr/>
          </p:nvSpPr>
          <p:spPr>
            <a:xfrm>
              <a:off x="9377654" y="1478851"/>
              <a:ext cx="74295" cy="148590"/>
            </a:xfrm>
            <a:custGeom>
              <a:avLst/>
              <a:gdLst/>
              <a:ahLst/>
              <a:cxnLst/>
              <a:rect l="l" t="t" r="r" b="b"/>
              <a:pathLst>
                <a:path w="74295" h="148589">
                  <a:moveTo>
                    <a:pt x="0" y="0"/>
                  </a:moveTo>
                  <a:lnTo>
                    <a:pt x="73985" y="73989"/>
                  </a:lnTo>
                  <a:lnTo>
                    <a:pt x="0" y="147979"/>
                  </a:lnTo>
                </a:path>
              </a:pathLst>
            </a:custGeom>
            <a:grpFill/>
            <a:ln w="12693">
              <a:solidFill>
                <a:srgbClr val="FFFFFF"/>
              </a:solidFill>
            </a:ln>
          </p:spPr>
          <p:txBody>
            <a:bodyPr wrap="square" lIns="0" tIns="0" rIns="0" bIns="0" rtlCol="0"/>
            <a:lstStyle/>
            <a:p>
              <a:endParaRPr lang="en-GB"/>
            </a:p>
          </p:txBody>
        </p:sp>
      </p:grpSp>
      <p:sp>
        <p:nvSpPr>
          <p:cNvPr id="262" name="Rectangle: Rounded Corners 261">
            <a:extLst>
              <a:ext uri="{FF2B5EF4-FFF2-40B4-BE49-F238E27FC236}">
                <a16:creationId xmlns:a16="http://schemas.microsoft.com/office/drawing/2014/main" id="{E6356693-57C2-0539-C564-59203F349092}"/>
              </a:ext>
            </a:extLst>
          </p:cNvPr>
          <p:cNvSpPr/>
          <p:nvPr/>
        </p:nvSpPr>
        <p:spPr>
          <a:xfrm>
            <a:off x="2236267" y="2209113"/>
            <a:ext cx="319408" cy="186215"/>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rPr>
              <a:t>X%</a:t>
            </a:r>
          </a:p>
        </p:txBody>
      </p:sp>
      <p:sp>
        <p:nvSpPr>
          <p:cNvPr id="263" name="TextBox 262">
            <a:extLst>
              <a:ext uri="{FF2B5EF4-FFF2-40B4-BE49-F238E27FC236}">
                <a16:creationId xmlns:a16="http://schemas.microsoft.com/office/drawing/2014/main" id="{D0377F4C-7DDB-2688-5828-9C7C5B6B4B8F}"/>
              </a:ext>
            </a:extLst>
          </p:cNvPr>
          <p:cNvSpPr txBox="1"/>
          <p:nvPr/>
        </p:nvSpPr>
        <p:spPr>
          <a:xfrm>
            <a:off x="2539059" y="2179110"/>
            <a:ext cx="2302528" cy="246221"/>
          </a:xfrm>
          <a:prstGeom prst="rect">
            <a:avLst/>
          </a:prstGeom>
          <a:noFill/>
        </p:spPr>
        <p:txBody>
          <a:bodyPr wrap="square" rtlCol="0">
            <a:spAutoFit/>
          </a:bodyPr>
          <a:lstStyle/>
          <a:p>
            <a:r>
              <a:rPr lang="en-GB" sz="1000" err="1"/>
              <a:t>Ændring</a:t>
            </a:r>
            <a:r>
              <a:rPr lang="en-GB" sz="1000"/>
              <a:t> 2024-2025</a:t>
            </a:r>
          </a:p>
        </p:txBody>
      </p:sp>
      <p:cxnSp>
        <p:nvCxnSpPr>
          <p:cNvPr id="264" name="Straight Connector 263">
            <a:extLst>
              <a:ext uri="{FF2B5EF4-FFF2-40B4-BE49-F238E27FC236}">
                <a16:creationId xmlns:a16="http://schemas.microsoft.com/office/drawing/2014/main" id="{18B1BD2F-1643-DA97-0F96-A28D5F4FFC3C}"/>
              </a:ext>
            </a:extLst>
          </p:cNvPr>
          <p:cNvCxnSpPr>
            <a:cxnSpLocks/>
          </p:cNvCxnSpPr>
          <p:nvPr/>
        </p:nvCxnSpPr>
        <p:spPr>
          <a:xfrm>
            <a:off x="425451" y="2546350"/>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29151275-278F-0273-0295-4222AC11BBAE}"/>
              </a:ext>
            </a:extLst>
          </p:cNvPr>
          <p:cNvCxnSpPr>
            <a:cxnSpLocks/>
          </p:cNvCxnSpPr>
          <p:nvPr/>
        </p:nvCxnSpPr>
        <p:spPr>
          <a:xfrm>
            <a:off x="425451" y="6432383"/>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C9F58AB4-ED02-8E2F-011C-CF83312B5898}"/>
              </a:ext>
            </a:extLst>
          </p:cNvPr>
          <p:cNvCxnSpPr>
            <a:cxnSpLocks/>
          </p:cNvCxnSpPr>
          <p:nvPr/>
        </p:nvCxnSpPr>
        <p:spPr>
          <a:xfrm>
            <a:off x="425451" y="2934953"/>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931CF7D5-4830-0C1A-27E0-024B2DE361BB}"/>
              </a:ext>
            </a:extLst>
          </p:cNvPr>
          <p:cNvCxnSpPr>
            <a:cxnSpLocks/>
          </p:cNvCxnSpPr>
          <p:nvPr/>
        </p:nvCxnSpPr>
        <p:spPr>
          <a:xfrm>
            <a:off x="425451" y="3323556"/>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5940A40-0CC3-8C69-CC82-86E52CD0C7E3}"/>
              </a:ext>
            </a:extLst>
          </p:cNvPr>
          <p:cNvCxnSpPr>
            <a:cxnSpLocks/>
          </p:cNvCxnSpPr>
          <p:nvPr/>
        </p:nvCxnSpPr>
        <p:spPr>
          <a:xfrm>
            <a:off x="425451" y="3712159"/>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B72D0123-7265-A8E6-8F39-BC1089568FC7}"/>
              </a:ext>
            </a:extLst>
          </p:cNvPr>
          <p:cNvCxnSpPr>
            <a:cxnSpLocks/>
          </p:cNvCxnSpPr>
          <p:nvPr/>
        </p:nvCxnSpPr>
        <p:spPr>
          <a:xfrm>
            <a:off x="425451" y="4100762"/>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1FEA9916-021D-20EF-B60A-34702D5F3A73}"/>
              </a:ext>
            </a:extLst>
          </p:cNvPr>
          <p:cNvCxnSpPr>
            <a:cxnSpLocks/>
          </p:cNvCxnSpPr>
          <p:nvPr/>
        </p:nvCxnSpPr>
        <p:spPr>
          <a:xfrm>
            <a:off x="425451" y="4489365"/>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D26203BC-48B6-729F-8F60-E641E8FCCC97}"/>
              </a:ext>
            </a:extLst>
          </p:cNvPr>
          <p:cNvCxnSpPr>
            <a:cxnSpLocks/>
          </p:cNvCxnSpPr>
          <p:nvPr/>
        </p:nvCxnSpPr>
        <p:spPr>
          <a:xfrm>
            <a:off x="425451" y="4877968"/>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0336A10-D1C2-E235-4F0A-DCBA19090A45}"/>
              </a:ext>
            </a:extLst>
          </p:cNvPr>
          <p:cNvCxnSpPr>
            <a:cxnSpLocks/>
          </p:cNvCxnSpPr>
          <p:nvPr/>
        </p:nvCxnSpPr>
        <p:spPr>
          <a:xfrm>
            <a:off x="425451" y="5266571"/>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B1E048E1-4384-4CCB-797A-1C98CC704148}"/>
              </a:ext>
            </a:extLst>
          </p:cNvPr>
          <p:cNvCxnSpPr>
            <a:cxnSpLocks/>
          </p:cNvCxnSpPr>
          <p:nvPr/>
        </p:nvCxnSpPr>
        <p:spPr>
          <a:xfrm>
            <a:off x="425451" y="5655174"/>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8BC2501E-0C99-BD4F-7BF5-2EDAA52C13CD}"/>
              </a:ext>
            </a:extLst>
          </p:cNvPr>
          <p:cNvCxnSpPr>
            <a:cxnSpLocks/>
          </p:cNvCxnSpPr>
          <p:nvPr/>
        </p:nvCxnSpPr>
        <p:spPr>
          <a:xfrm>
            <a:off x="425451" y="6043777"/>
            <a:ext cx="441007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562BA6-62D9-E566-3F4A-D146996E8844}"/>
              </a:ext>
            </a:extLst>
          </p:cNvPr>
          <p:cNvSpPr txBox="1"/>
          <p:nvPr/>
        </p:nvSpPr>
        <p:spPr>
          <a:xfrm>
            <a:off x="9018588" y="1891526"/>
            <a:ext cx="808876" cy="276999"/>
          </a:xfrm>
          <a:prstGeom prst="rect">
            <a:avLst/>
          </a:prstGeom>
          <a:noFill/>
        </p:spPr>
        <p:txBody>
          <a:bodyPr wrap="none" lIns="0" rtlCol="0">
            <a:spAutoFit/>
          </a:bodyPr>
          <a:lstStyle/>
          <a:p>
            <a:r>
              <a:rPr lang="en-GB" sz="1200" b="1"/>
              <a:t>Highlights</a:t>
            </a:r>
          </a:p>
        </p:txBody>
      </p:sp>
      <p:cxnSp>
        <p:nvCxnSpPr>
          <p:cNvPr id="8" name="Straight Connector 7">
            <a:extLst>
              <a:ext uri="{FF2B5EF4-FFF2-40B4-BE49-F238E27FC236}">
                <a16:creationId xmlns:a16="http://schemas.microsoft.com/office/drawing/2014/main" id="{B3F3A0C5-3F25-59C6-2A95-F0D74BC9E016}"/>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18EBECD-240F-8440-9214-545644F48893}"/>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To brancher dominerer: </a:t>
            </a:r>
            <a:r>
              <a:rPr lang="da-DK" sz="1000" b="0"/>
              <a:t>Rådgivning og forretningsservice samt handel, transport, overnatning og restauranter udgør tilsammen 48% af nystiftede virksomheder.</a:t>
            </a:r>
          </a:p>
          <a:p>
            <a:endParaRPr lang="da-DK" sz="1000" b="0"/>
          </a:p>
          <a:p>
            <a:r>
              <a:rPr lang="da-DK" sz="1000"/>
              <a:t>IT og medier: </a:t>
            </a:r>
            <a:r>
              <a:rPr lang="da-DK" sz="1000" b="0"/>
              <a:t>Antallet af nystiftede virksomheder steg med 25 % fra 2024, i høj grad drevet af virksomheder inden for computerprogrammering samt video- og filmproduktion.</a:t>
            </a:r>
          </a:p>
          <a:p>
            <a:pPr marL="0" indent="0">
              <a:buNone/>
            </a:pPr>
            <a:endParaRPr lang="da-DK" sz="1000"/>
          </a:p>
          <a:p>
            <a:r>
              <a:rPr lang="da-DK" sz="1000"/>
              <a:t>Stor udvikling: </a:t>
            </a:r>
            <a:r>
              <a:rPr lang="da-DK" sz="1000" b="0"/>
              <a:t>vækst på tværs af de fem største brancher inden for IT og medier med undtagelse af computerkonsulentbistand-…, der var 7% lavere end i 2024.</a:t>
            </a:r>
          </a:p>
          <a:p>
            <a:endParaRPr lang="da-DK" sz="1000" b="0"/>
          </a:p>
          <a:p>
            <a:r>
              <a:rPr lang="da-DK" sz="1000"/>
              <a:t>Ny branchekode i 2025: </a:t>
            </a:r>
            <a:r>
              <a:rPr lang="da-DK" sz="1000" b="0"/>
              <a:t>Danmarks Statistik og CVR overgår til Dansk Branchekode 2025 (DB25). Virksomheder fordeles således med afsæt i en opdateret klassifikation af økonomisk aktivitet, sammenholdt med tidligere år.</a:t>
            </a:r>
          </a:p>
          <a:p>
            <a:endParaRPr lang="da-DK" sz="1000" b="0"/>
          </a:p>
        </p:txBody>
      </p:sp>
      <p:graphicFrame>
        <p:nvGraphicFramePr>
          <p:cNvPr id="48" name="Chart 47">
            <a:extLst>
              <a:ext uri="{FF2B5EF4-FFF2-40B4-BE49-F238E27FC236}">
                <a16:creationId xmlns:a16="http://schemas.microsoft.com/office/drawing/2014/main" id="{9AF4737A-DF9C-6722-7F9F-D4DAA51BD695}"/>
              </a:ext>
            </a:extLst>
          </p:cNvPr>
          <p:cNvGraphicFramePr/>
          <p:nvPr>
            <p:custDataLst>
              <p:tags r:id="rId10"/>
            </p:custDataLst>
            <p:extLst>
              <p:ext uri="{D42A27DB-BD31-4B8C-83A1-F6EECF244321}">
                <p14:modId xmlns:p14="http://schemas.microsoft.com/office/powerpoint/2010/main" val="2048058525"/>
              </p:ext>
            </p:extLst>
          </p:nvPr>
        </p:nvGraphicFramePr>
        <p:xfrm>
          <a:off x="1927225" y="2317750"/>
          <a:ext cx="2389188" cy="4337050"/>
        </p:xfrm>
        <a:graphic>
          <a:graphicData uri="http://schemas.openxmlformats.org/drawingml/2006/chart">
            <c:chart xmlns:c="http://schemas.openxmlformats.org/drawingml/2006/chart" xmlns:r="http://schemas.openxmlformats.org/officeDocument/2006/relationships" r:id="rId19"/>
          </a:graphicData>
        </a:graphic>
      </p:graphicFrame>
      <p:sp>
        <p:nvSpPr>
          <p:cNvPr id="33" name="Text Placeholder 2">
            <a:extLst>
              <a:ext uri="{FF2B5EF4-FFF2-40B4-BE49-F238E27FC236}">
                <a16:creationId xmlns:a16="http://schemas.microsoft.com/office/drawing/2014/main" id="{9C5B2EDA-91F8-4DA7-C3D5-20EBC8160410}"/>
              </a:ext>
            </a:extLst>
          </p:cNvPr>
          <p:cNvSpPr>
            <a:spLocks noGrp="1"/>
          </p:cNvSpPr>
          <p:nvPr>
            <p:custDataLst>
              <p:tags r:id="rId11"/>
            </p:custDataLst>
          </p:nvPr>
        </p:nvSpPr>
        <p:spPr bwMode="gray">
          <a:xfrm>
            <a:off x="2227263" y="5776913"/>
            <a:ext cx="365125" cy="136525"/>
          </a:xfrm>
          <a:prstGeom prst="rect">
            <a:avLst/>
          </a:prstGeom>
          <a:solidFill>
            <a:schemeClr val="accent1"/>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749647-40C1-4CA7-9AF9-674C05A4E6A0}" type="datetime'''''''''1''''''''''.''4''''''4''''''8'">
              <a:rPr lang="en-GB" altLang="en-US" sz="1000" smtClean="0">
                <a:effectLst/>
                <a:latin typeface="+mn-lt"/>
              </a:rPr>
              <a:pPr marL="0" indent="0" algn="ctr">
                <a:spcBef>
                  <a:spcPct val="0"/>
                </a:spcBef>
                <a:spcAft>
                  <a:spcPct val="0"/>
                </a:spcAft>
                <a:buNone/>
              </a:pPr>
              <a:t>1.448</a:t>
            </a:fld>
            <a:endParaRPr lang="da-DK" sz="1000">
              <a:latin typeface="+mn-lt"/>
            </a:endParaRPr>
          </a:p>
        </p:txBody>
      </p:sp>
      <p:sp>
        <p:nvSpPr>
          <p:cNvPr id="34" name="Text Placeholder 2">
            <a:extLst>
              <a:ext uri="{FF2B5EF4-FFF2-40B4-BE49-F238E27FC236}">
                <a16:creationId xmlns:a16="http://schemas.microsoft.com/office/drawing/2014/main" id="{1C5E4A8B-AED4-3F3C-B95B-570BCE7B8EFB}"/>
              </a:ext>
            </a:extLst>
          </p:cNvPr>
          <p:cNvSpPr>
            <a:spLocks noGrp="1"/>
          </p:cNvSpPr>
          <p:nvPr>
            <p:custDataLst>
              <p:tags r:id="rId12"/>
            </p:custDataLst>
          </p:nvPr>
        </p:nvSpPr>
        <p:spPr bwMode="gray">
          <a:xfrm>
            <a:off x="2212975" y="6165850"/>
            <a:ext cx="263525" cy="136525"/>
          </a:xfrm>
          <a:prstGeom prst="rect">
            <a:avLst/>
          </a:prstGeom>
          <a:solidFill>
            <a:schemeClr val="accent1"/>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05B780-D433-4F27-905B-48C9D9F3A460}" type="datetime'''7''1''''''''''''''''''5'''''''''''''''''">
              <a:rPr lang="en-GB" altLang="en-US" sz="1000" smtClean="0">
                <a:effectLst/>
                <a:latin typeface="+mn-lt"/>
              </a:rPr>
              <a:pPr marL="0" indent="0" algn="ctr">
                <a:spcBef>
                  <a:spcPct val="0"/>
                </a:spcBef>
                <a:spcAft>
                  <a:spcPct val="0"/>
                </a:spcAft>
                <a:buNone/>
              </a:pPr>
              <a:t>715</a:t>
            </a:fld>
            <a:endParaRPr lang="da-DK" sz="1000">
              <a:latin typeface="+mn-lt"/>
            </a:endParaRPr>
          </a:p>
        </p:txBody>
      </p:sp>
    </p:spTree>
    <p:extLst>
      <p:ext uri="{BB962C8B-B14F-4D97-AF65-F5344CB8AC3E}">
        <p14:creationId xmlns:p14="http://schemas.microsoft.com/office/powerpoint/2010/main" val="2668111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F9013-C8A3-89DD-DB58-EE29EC6E4CC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11042C2-D8EF-40DD-79D7-4E65E1FBBFD3}"/>
              </a:ext>
            </a:extLst>
          </p:cNvPr>
          <p:cNvGraphicFramePr>
            <a:graphicFrameLocks noChangeAspect="1"/>
          </p:cNvGraphicFramePr>
          <p:nvPr>
            <p:custDataLst>
              <p:tags r:id="rId1"/>
            </p:custDataLst>
            <p:extLst>
              <p:ext uri="{D42A27DB-BD31-4B8C-83A1-F6EECF244321}">
                <p14:modId xmlns:p14="http://schemas.microsoft.com/office/powerpoint/2010/main" val="298245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59" imgH="360" progId="TCLayout.ActiveDocument.1">
                  <p:embed/>
                </p:oleObj>
              </mc:Choice>
              <mc:Fallback>
                <p:oleObj name="think-cell Slide" r:id="rId22" imgW="359" imgH="360" progId="TCLayout.ActiveDocument.1">
                  <p:embed/>
                  <p:pic>
                    <p:nvPicPr>
                      <p:cNvPr id="13" name="think-cell data - do not delete" hidden="1">
                        <a:extLst>
                          <a:ext uri="{FF2B5EF4-FFF2-40B4-BE49-F238E27FC236}">
                            <a16:creationId xmlns:a16="http://schemas.microsoft.com/office/drawing/2014/main" id="{811042C2-D8EF-40DD-79D7-4E65E1FBBFD3}"/>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B3214-66B2-4937-F646-DC69505CB06D}"/>
              </a:ext>
            </a:extLst>
          </p:cNvPr>
          <p:cNvSpPr>
            <a:spLocks noGrp="1"/>
          </p:cNvSpPr>
          <p:nvPr>
            <p:ph type="title"/>
          </p:nvPr>
        </p:nvSpPr>
        <p:spPr>
          <a:xfrm>
            <a:off x="431798" y="431802"/>
            <a:ext cx="8494715" cy="966187"/>
          </a:xfrm>
        </p:spPr>
        <p:txBody>
          <a:bodyPr vert="horz"/>
          <a:lstStyle/>
          <a:p>
            <a:r>
              <a:rPr lang="da-DK" sz="2800"/>
              <a:t>Stigning i andel af anpartsselskaber på tværs af næsten alle brancher</a:t>
            </a:r>
            <a:endParaRPr lang="en-GB" sz="2800"/>
          </a:p>
        </p:txBody>
      </p:sp>
      <p:sp>
        <p:nvSpPr>
          <p:cNvPr id="3" name="Text Placeholder 2">
            <a:extLst>
              <a:ext uri="{FF2B5EF4-FFF2-40B4-BE49-F238E27FC236}">
                <a16:creationId xmlns:a16="http://schemas.microsoft.com/office/drawing/2014/main" id="{0B1C9949-F723-687E-BB9B-6217E3370FCB}"/>
              </a:ext>
            </a:extLst>
          </p:cNvPr>
          <p:cNvSpPr>
            <a:spLocks noGrp="1"/>
          </p:cNvSpPr>
          <p:nvPr>
            <p:ph type="body" sz="quarter" idx="14"/>
          </p:nvPr>
        </p:nvSpPr>
        <p:spPr/>
        <p:txBody>
          <a:bodyPr/>
          <a:lstStyle/>
          <a:p>
            <a:r>
              <a:rPr lang="en-GB"/>
              <a:t>Brancher </a:t>
            </a:r>
            <a:r>
              <a:rPr lang="en-GB" err="1"/>
              <a:t>og</a:t>
            </a:r>
            <a:r>
              <a:rPr lang="en-GB"/>
              <a:t> </a:t>
            </a:r>
            <a:r>
              <a:rPr lang="en-GB" err="1"/>
              <a:t>selskabsformer</a:t>
            </a:r>
            <a:endParaRPr lang="en-GB"/>
          </a:p>
        </p:txBody>
      </p:sp>
      <p:sp>
        <p:nvSpPr>
          <p:cNvPr id="10" name="TextBox 9">
            <a:extLst>
              <a:ext uri="{FF2B5EF4-FFF2-40B4-BE49-F238E27FC236}">
                <a16:creationId xmlns:a16="http://schemas.microsoft.com/office/drawing/2014/main" id="{A36E87A6-4873-1B43-BEA9-4376EF5B8974}"/>
              </a:ext>
            </a:extLst>
          </p:cNvPr>
          <p:cNvSpPr txBox="1"/>
          <p:nvPr/>
        </p:nvSpPr>
        <p:spPr>
          <a:xfrm>
            <a:off x="431799" y="1891526"/>
            <a:ext cx="8356600" cy="276999"/>
          </a:xfrm>
          <a:prstGeom prst="rect">
            <a:avLst/>
          </a:prstGeom>
          <a:noFill/>
        </p:spPr>
        <p:txBody>
          <a:bodyPr wrap="none" lIns="0" rtlCol="0">
            <a:noAutofit/>
          </a:bodyPr>
          <a:lstStyle/>
          <a:p>
            <a:r>
              <a:rPr lang="da-DK" sz="1200" b="1"/>
              <a:t>Andelen af selskabsformer fordelt på brancher, </a:t>
            </a:r>
            <a:r>
              <a:rPr lang="da-DK" sz="1200"/>
              <a:t>antal</a:t>
            </a:r>
          </a:p>
        </p:txBody>
      </p:sp>
      <p:sp>
        <p:nvSpPr>
          <p:cNvPr id="20" name="TextBox 19">
            <a:extLst>
              <a:ext uri="{FF2B5EF4-FFF2-40B4-BE49-F238E27FC236}">
                <a16:creationId xmlns:a16="http://schemas.microsoft.com/office/drawing/2014/main" id="{25692A88-E255-ED7E-ECEF-890E2E29D9E7}"/>
              </a:ext>
            </a:extLst>
          </p:cNvPr>
          <p:cNvSpPr txBox="1"/>
          <p:nvPr/>
        </p:nvSpPr>
        <p:spPr>
          <a:xfrm>
            <a:off x="402795" y="6120291"/>
            <a:ext cx="1912144" cy="246221"/>
          </a:xfrm>
          <a:prstGeom prst="rect">
            <a:avLst/>
          </a:prstGeom>
          <a:noFill/>
        </p:spPr>
        <p:txBody>
          <a:bodyPr wrap="square" rtlCol="0">
            <a:spAutoFit/>
          </a:bodyPr>
          <a:lstStyle/>
          <a:p>
            <a:pPr algn="r"/>
            <a:fld id="{33B36B4C-9221-4A9A-992B-45B6AAB6CB1A}" type="datetime'''L''andbrug, s''k''o''''vbrug'''''''' ''og ''fis''keri'''''">
              <a:rPr lang="da-DK" altLang="en-US" sz="1000" smtClean="0"/>
              <a:pPr algn="r"/>
              <a:t>Landbrug, skovbrug og fiskeri</a:t>
            </a:fld>
            <a:endParaRPr lang="da-DK" sz="1000"/>
          </a:p>
        </p:txBody>
      </p:sp>
      <p:sp>
        <p:nvSpPr>
          <p:cNvPr id="21" name="TextBox 20">
            <a:extLst>
              <a:ext uri="{FF2B5EF4-FFF2-40B4-BE49-F238E27FC236}">
                <a16:creationId xmlns:a16="http://schemas.microsoft.com/office/drawing/2014/main" id="{5E001B32-B426-FE3F-D42F-1B27DD13E83C}"/>
              </a:ext>
            </a:extLst>
          </p:cNvPr>
          <p:cNvSpPr txBox="1"/>
          <p:nvPr/>
        </p:nvSpPr>
        <p:spPr>
          <a:xfrm>
            <a:off x="402795" y="4523792"/>
            <a:ext cx="1912144" cy="400110"/>
          </a:xfrm>
          <a:prstGeom prst="rect">
            <a:avLst/>
          </a:prstGeom>
          <a:noFill/>
        </p:spPr>
        <p:txBody>
          <a:bodyPr wrap="square" rtlCol="0">
            <a:spAutoFit/>
          </a:bodyPr>
          <a:lstStyle/>
          <a:p>
            <a:pPr algn="r"/>
            <a:fld id="{3F2C243F-D142-4AFA-982E-8F956E8050C6}" type="datetime'I''''''nd''''ustri, forsyni''''ng'''' og r''åstofindv''inding'">
              <a:rPr lang="da-DK" altLang="en-US" sz="1000"/>
              <a:pPr algn="r"/>
              <a:t>Industri, forsyning og råstofindvinding</a:t>
            </a:fld>
            <a:endParaRPr lang="da-DK" sz="1000"/>
          </a:p>
        </p:txBody>
      </p:sp>
      <p:sp>
        <p:nvSpPr>
          <p:cNvPr id="22" name="TextBox 21">
            <a:extLst>
              <a:ext uri="{FF2B5EF4-FFF2-40B4-BE49-F238E27FC236}">
                <a16:creationId xmlns:a16="http://schemas.microsoft.com/office/drawing/2014/main" id="{906A5760-3A30-BB66-4976-76C31880B804}"/>
              </a:ext>
            </a:extLst>
          </p:cNvPr>
          <p:cNvSpPr txBox="1"/>
          <p:nvPr/>
        </p:nvSpPr>
        <p:spPr>
          <a:xfrm>
            <a:off x="402795" y="3840958"/>
            <a:ext cx="1912144" cy="246221"/>
          </a:xfrm>
          <a:prstGeom prst="rect">
            <a:avLst/>
          </a:prstGeom>
          <a:noFill/>
        </p:spPr>
        <p:txBody>
          <a:bodyPr wrap="square" rtlCol="0">
            <a:spAutoFit/>
          </a:bodyPr>
          <a:lstStyle/>
          <a:p>
            <a:pPr algn="r"/>
            <a:fld id="{ACDFB482-E5DE-4711-8B6E-DFD72F029BA1}" type="datetime'''''''''B''''''y''g''''geri ''''''''''o''''g anl''''''''æ''g'">
              <a:rPr lang="da-DK" altLang="en-US" sz="1000"/>
              <a:pPr algn="r"/>
              <a:t>Byggeri og anlæg</a:t>
            </a:fld>
            <a:endParaRPr lang="da-DK" sz="1000"/>
          </a:p>
        </p:txBody>
      </p:sp>
      <p:sp>
        <p:nvSpPr>
          <p:cNvPr id="23" name="TextBox 22">
            <a:extLst>
              <a:ext uri="{FF2B5EF4-FFF2-40B4-BE49-F238E27FC236}">
                <a16:creationId xmlns:a16="http://schemas.microsoft.com/office/drawing/2014/main" id="{3B138754-8400-BCCB-C6BE-5A7EDB0ED0C8}"/>
              </a:ext>
            </a:extLst>
          </p:cNvPr>
          <p:cNvSpPr txBox="1"/>
          <p:nvPr/>
        </p:nvSpPr>
        <p:spPr>
          <a:xfrm>
            <a:off x="402795" y="3384125"/>
            <a:ext cx="1912144" cy="400110"/>
          </a:xfrm>
          <a:prstGeom prst="rect">
            <a:avLst/>
          </a:prstGeom>
          <a:noFill/>
        </p:spPr>
        <p:txBody>
          <a:bodyPr wrap="square" rtlCol="0">
            <a:spAutoFit/>
          </a:bodyPr>
          <a:lstStyle/>
          <a:p>
            <a:pPr algn="r"/>
            <a:fld id="{FAFD1C9F-BC95-4786-B66E-A32213570EA2}" type="datetime'Ha''ndel, tr''an''sport, over''natning ''og restaurant''''er'">
              <a:rPr lang="da-DK" altLang="en-US" sz="1000"/>
              <a:pPr algn="r"/>
              <a:t>Handel, transport, overnatning og restauranter</a:t>
            </a:fld>
            <a:endParaRPr lang="da-DK" sz="1000"/>
          </a:p>
        </p:txBody>
      </p:sp>
      <p:sp>
        <p:nvSpPr>
          <p:cNvPr id="24" name="TextBox 23">
            <a:extLst>
              <a:ext uri="{FF2B5EF4-FFF2-40B4-BE49-F238E27FC236}">
                <a16:creationId xmlns:a16="http://schemas.microsoft.com/office/drawing/2014/main" id="{0D64E7E8-F5FA-5573-B67D-2134572DE69C}"/>
              </a:ext>
            </a:extLst>
          </p:cNvPr>
          <p:cNvSpPr txBox="1"/>
          <p:nvPr/>
        </p:nvSpPr>
        <p:spPr>
          <a:xfrm>
            <a:off x="402795" y="4220847"/>
            <a:ext cx="1912144" cy="246221"/>
          </a:xfrm>
          <a:prstGeom prst="rect">
            <a:avLst/>
          </a:prstGeom>
          <a:noFill/>
        </p:spPr>
        <p:txBody>
          <a:bodyPr wrap="square" rtlCol="0">
            <a:spAutoFit/>
          </a:bodyPr>
          <a:lstStyle/>
          <a:p>
            <a:pPr algn="r"/>
            <a:fld id="{EAFAF09F-8DB7-42FF-88B3-1A4E7381C666}" type="datetime'IT'''''''''''''' ''''''og ''''''''med''i''''''e''r'''''''''''">
              <a:rPr lang="da-DK" altLang="en-US" sz="1000"/>
              <a:pPr algn="r"/>
              <a:t>IT og medier</a:t>
            </a:fld>
            <a:endParaRPr lang="da-DK" sz="1000"/>
          </a:p>
        </p:txBody>
      </p:sp>
      <p:sp>
        <p:nvSpPr>
          <p:cNvPr id="25" name="TextBox 24">
            <a:extLst>
              <a:ext uri="{FF2B5EF4-FFF2-40B4-BE49-F238E27FC236}">
                <a16:creationId xmlns:a16="http://schemas.microsoft.com/office/drawing/2014/main" id="{56E53696-2455-2C25-9BFC-D85198793822}"/>
              </a:ext>
            </a:extLst>
          </p:cNvPr>
          <p:cNvSpPr txBox="1"/>
          <p:nvPr/>
        </p:nvSpPr>
        <p:spPr>
          <a:xfrm>
            <a:off x="402795" y="3081180"/>
            <a:ext cx="1912144" cy="246221"/>
          </a:xfrm>
          <a:prstGeom prst="rect">
            <a:avLst/>
          </a:prstGeom>
          <a:noFill/>
        </p:spPr>
        <p:txBody>
          <a:bodyPr wrap="square" rtlCol="0">
            <a:spAutoFit/>
          </a:bodyPr>
          <a:lstStyle/>
          <a:p>
            <a:pPr algn="r"/>
            <a:fld id="{BD7E4E4D-9309-44D7-B015-E0338D514DF5}" type="datetime'''''Fi''n''an''sier''i''''''ng'' ''og ''f''orsik''ri''''n''g'">
              <a:rPr lang="da-DK" altLang="en-US" sz="1000"/>
              <a:pPr algn="r"/>
              <a:t>Finansiering og forsikring</a:t>
            </a:fld>
            <a:endParaRPr lang="da-DK" sz="1000"/>
          </a:p>
        </p:txBody>
      </p:sp>
      <p:sp>
        <p:nvSpPr>
          <p:cNvPr id="26" name="TextBox 25">
            <a:extLst>
              <a:ext uri="{FF2B5EF4-FFF2-40B4-BE49-F238E27FC236}">
                <a16:creationId xmlns:a16="http://schemas.microsoft.com/office/drawing/2014/main" id="{5A7FB58D-5D98-CA35-EA6B-2C0DEB76E3F0}"/>
              </a:ext>
            </a:extLst>
          </p:cNvPr>
          <p:cNvSpPr txBox="1"/>
          <p:nvPr/>
        </p:nvSpPr>
        <p:spPr>
          <a:xfrm>
            <a:off x="402795" y="2624346"/>
            <a:ext cx="1912144" cy="400110"/>
          </a:xfrm>
          <a:prstGeom prst="rect">
            <a:avLst/>
          </a:prstGeom>
          <a:noFill/>
        </p:spPr>
        <p:txBody>
          <a:bodyPr wrap="square" rtlCol="0">
            <a:spAutoFit/>
          </a:bodyPr>
          <a:lstStyle/>
          <a:p>
            <a:pPr algn="r"/>
            <a:fld id="{2455B961-F1A9-49A6-B821-5A92C445643C}" type="datetime'''Handel, u''''dlejning og admi''n''istration af ejendomm''e'">
              <a:rPr lang="da-DK" altLang="en-US" sz="1000"/>
              <a:pPr algn="r"/>
              <a:t>Handel, udlejning og administration af ejendomme</a:t>
            </a:fld>
            <a:endParaRPr lang="da-DK" sz="1000"/>
          </a:p>
        </p:txBody>
      </p:sp>
      <p:sp>
        <p:nvSpPr>
          <p:cNvPr id="27" name="TextBox 26">
            <a:extLst>
              <a:ext uri="{FF2B5EF4-FFF2-40B4-BE49-F238E27FC236}">
                <a16:creationId xmlns:a16="http://schemas.microsoft.com/office/drawing/2014/main" id="{4665022C-EE2A-734E-92BA-898A27FE8C01}"/>
              </a:ext>
            </a:extLst>
          </p:cNvPr>
          <p:cNvSpPr txBox="1"/>
          <p:nvPr/>
        </p:nvSpPr>
        <p:spPr>
          <a:xfrm>
            <a:off x="402795" y="4903681"/>
            <a:ext cx="1912144" cy="400110"/>
          </a:xfrm>
          <a:prstGeom prst="rect">
            <a:avLst/>
          </a:prstGeom>
          <a:noFill/>
        </p:spPr>
        <p:txBody>
          <a:bodyPr wrap="square" rtlCol="0">
            <a:spAutoFit/>
          </a:bodyPr>
          <a:lstStyle/>
          <a:p>
            <a:pPr algn="r"/>
            <a:fld id="{69459FB7-A21A-4A44-B18A-14734AE5F043}" type="datetime'R''''''ådgiv''n''ing ''''og for''retn''''i''ngss''ervice'">
              <a:rPr lang="da-DK" altLang="en-US" sz="1000"/>
              <a:pPr algn="r"/>
              <a:t>Rådgivning og forretningsservice</a:t>
            </a:fld>
            <a:endParaRPr lang="da-DK" sz="1000"/>
          </a:p>
        </p:txBody>
      </p:sp>
      <p:sp>
        <p:nvSpPr>
          <p:cNvPr id="28" name="TextBox 27">
            <a:extLst>
              <a:ext uri="{FF2B5EF4-FFF2-40B4-BE49-F238E27FC236}">
                <a16:creationId xmlns:a16="http://schemas.microsoft.com/office/drawing/2014/main" id="{D935E40A-B639-90C8-FDC1-B568A543FEDE}"/>
              </a:ext>
            </a:extLst>
          </p:cNvPr>
          <p:cNvSpPr txBox="1"/>
          <p:nvPr/>
        </p:nvSpPr>
        <p:spPr>
          <a:xfrm>
            <a:off x="402795" y="5663458"/>
            <a:ext cx="1912144" cy="400110"/>
          </a:xfrm>
          <a:prstGeom prst="rect">
            <a:avLst/>
          </a:prstGeom>
          <a:noFill/>
        </p:spPr>
        <p:txBody>
          <a:bodyPr wrap="square" rtlCol="0">
            <a:spAutoFit/>
          </a:bodyPr>
          <a:lstStyle/>
          <a:p>
            <a:pPr algn="r"/>
            <a:fld id="{289A33ED-A1F4-4A0C-B6CF-30D98C213051}" type="datetime'Offentlig ''for''valtni''ng, unde''rvi''sni''ng og su''ndhed'">
              <a:rPr lang="da-DK" altLang="en-US" sz="1000"/>
              <a:pPr algn="r"/>
              <a:t>Offentlig forvaltning, undervisning og sundhed</a:t>
            </a:fld>
            <a:endParaRPr lang="da-DK" sz="1000"/>
          </a:p>
        </p:txBody>
      </p:sp>
      <p:sp>
        <p:nvSpPr>
          <p:cNvPr id="29" name="TextBox 28">
            <a:extLst>
              <a:ext uri="{FF2B5EF4-FFF2-40B4-BE49-F238E27FC236}">
                <a16:creationId xmlns:a16="http://schemas.microsoft.com/office/drawing/2014/main" id="{FD771F89-1855-235C-0CE9-DA1E5FEE489E}"/>
              </a:ext>
            </a:extLst>
          </p:cNvPr>
          <p:cNvSpPr txBox="1"/>
          <p:nvPr/>
        </p:nvSpPr>
        <p:spPr>
          <a:xfrm>
            <a:off x="402795" y="5283569"/>
            <a:ext cx="1912144" cy="400110"/>
          </a:xfrm>
          <a:prstGeom prst="rect">
            <a:avLst/>
          </a:prstGeom>
          <a:noFill/>
        </p:spPr>
        <p:txBody>
          <a:bodyPr wrap="square" rtlCol="0">
            <a:spAutoFit/>
          </a:bodyPr>
          <a:lstStyle/>
          <a:p>
            <a:pPr algn="r"/>
            <a:fld id="{24A3F23C-4703-4DB1-9938-48B839375A84}" type="datetime'''Kult''''ur, fritid, autorepara''tion o''g'' anden service'''">
              <a:rPr lang="da-DK" altLang="en-US" sz="1000"/>
              <a:pPr algn="r"/>
              <a:t>Kultur, fritid, autoreparation og anden service</a:t>
            </a:fld>
            <a:endParaRPr lang="da-DK" sz="1000"/>
          </a:p>
        </p:txBody>
      </p:sp>
      <p:cxnSp>
        <p:nvCxnSpPr>
          <p:cNvPr id="38" name="Straight Connector 37">
            <a:extLst>
              <a:ext uri="{FF2B5EF4-FFF2-40B4-BE49-F238E27FC236}">
                <a16:creationId xmlns:a16="http://schemas.microsoft.com/office/drawing/2014/main" id="{D03EB756-ED3A-D109-46C9-F46E355558F5}"/>
              </a:ext>
            </a:extLst>
          </p:cNvPr>
          <p:cNvCxnSpPr>
            <a:cxnSpLocks/>
          </p:cNvCxnSpPr>
          <p:nvPr/>
        </p:nvCxnSpPr>
        <p:spPr>
          <a:xfrm flipV="1">
            <a:off x="435928" y="2633663"/>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6C42967-22FE-2BE3-524F-878BDAA27302}"/>
              </a:ext>
            </a:extLst>
          </p:cNvPr>
          <p:cNvCxnSpPr>
            <a:cxnSpLocks/>
          </p:cNvCxnSpPr>
          <p:nvPr/>
        </p:nvCxnSpPr>
        <p:spPr>
          <a:xfrm flipV="1">
            <a:off x="435928" y="6432550"/>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59778D-C1D2-9F47-596D-929AD1A8D309}"/>
              </a:ext>
            </a:extLst>
          </p:cNvPr>
          <p:cNvCxnSpPr>
            <a:cxnSpLocks/>
          </p:cNvCxnSpPr>
          <p:nvPr/>
        </p:nvCxnSpPr>
        <p:spPr>
          <a:xfrm>
            <a:off x="436563" y="3013552"/>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8032B5-9F08-EF33-5FC6-7C8BD1448FD0}"/>
              </a:ext>
            </a:extLst>
          </p:cNvPr>
          <p:cNvCxnSpPr>
            <a:cxnSpLocks/>
          </p:cNvCxnSpPr>
          <p:nvPr/>
        </p:nvCxnSpPr>
        <p:spPr>
          <a:xfrm flipV="1">
            <a:off x="435928" y="3393441"/>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36BF47-9F33-A6FB-4DB9-7D1A0AE44F56}"/>
              </a:ext>
            </a:extLst>
          </p:cNvPr>
          <p:cNvCxnSpPr>
            <a:cxnSpLocks/>
          </p:cNvCxnSpPr>
          <p:nvPr/>
        </p:nvCxnSpPr>
        <p:spPr>
          <a:xfrm flipV="1">
            <a:off x="435928" y="3773330"/>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80636B2-C8D8-A6A2-3998-9C96FDA9687A}"/>
              </a:ext>
            </a:extLst>
          </p:cNvPr>
          <p:cNvCxnSpPr>
            <a:cxnSpLocks/>
          </p:cNvCxnSpPr>
          <p:nvPr/>
        </p:nvCxnSpPr>
        <p:spPr>
          <a:xfrm flipV="1">
            <a:off x="435928" y="4153219"/>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F4BB5CF-7EFC-505A-024B-2E8ABC58EF8A}"/>
              </a:ext>
            </a:extLst>
          </p:cNvPr>
          <p:cNvCxnSpPr>
            <a:cxnSpLocks/>
          </p:cNvCxnSpPr>
          <p:nvPr/>
        </p:nvCxnSpPr>
        <p:spPr>
          <a:xfrm flipV="1">
            <a:off x="435928" y="4533108"/>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E61A97-F009-0D01-1EE7-4383801852E8}"/>
              </a:ext>
            </a:extLst>
          </p:cNvPr>
          <p:cNvCxnSpPr>
            <a:cxnSpLocks/>
          </p:cNvCxnSpPr>
          <p:nvPr/>
        </p:nvCxnSpPr>
        <p:spPr>
          <a:xfrm flipV="1">
            <a:off x="435928" y="4912997"/>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5D46262-7029-EA0F-F82A-4B96D311BE60}"/>
              </a:ext>
            </a:extLst>
          </p:cNvPr>
          <p:cNvCxnSpPr>
            <a:cxnSpLocks/>
          </p:cNvCxnSpPr>
          <p:nvPr/>
        </p:nvCxnSpPr>
        <p:spPr>
          <a:xfrm flipV="1">
            <a:off x="435928" y="5292886"/>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3E04CA0-6063-5852-B293-56EAFB86E46E}"/>
              </a:ext>
            </a:extLst>
          </p:cNvPr>
          <p:cNvCxnSpPr>
            <a:cxnSpLocks/>
          </p:cNvCxnSpPr>
          <p:nvPr/>
        </p:nvCxnSpPr>
        <p:spPr>
          <a:xfrm flipV="1">
            <a:off x="435928" y="5672775"/>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0003CE2-ED3F-C988-223F-2563F1B13098}"/>
              </a:ext>
            </a:extLst>
          </p:cNvPr>
          <p:cNvCxnSpPr>
            <a:cxnSpLocks/>
          </p:cNvCxnSpPr>
          <p:nvPr/>
        </p:nvCxnSpPr>
        <p:spPr>
          <a:xfrm flipV="1">
            <a:off x="435928" y="6052664"/>
            <a:ext cx="83518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230D6A8-B45B-F5E2-85E6-943E9808F2A6}"/>
              </a:ext>
            </a:extLst>
          </p:cNvPr>
          <p:cNvSpPr txBox="1"/>
          <p:nvPr/>
        </p:nvSpPr>
        <p:spPr>
          <a:xfrm>
            <a:off x="2823535" y="2389030"/>
            <a:ext cx="2772214" cy="246221"/>
          </a:xfrm>
          <a:prstGeom prst="rect">
            <a:avLst/>
          </a:prstGeom>
          <a:noFill/>
        </p:spPr>
        <p:txBody>
          <a:bodyPr wrap="square" rtlCol="0">
            <a:spAutoFit/>
          </a:bodyPr>
          <a:lstStyle/>
          <a:p>
            <a:pPr algn="ctr"/>
            <a:r>
              <a:rPr lang="da-DK" sz="1000"/>
              <a:t>Andel 2025</a:t>
            </a:r>
          </a:p>
        </p:txBody>
      </p:sp>
      <p:sp>
        <p:nvSpPr>
          <p:cNvPr id="51" name="TextBox 50">
            <a:extLst>
              <a:ext uri="{FF2B5EF4-FFF2-40B4-BE49-F238E27FC236}">
                <a16:creationId xmlns:a16="http://schemas.microsoft.com/office/drawing/2014/main" id="{E1DE4405-7DDE-8AB7-D529-8297D530341E}"/>
              </a:ext>
            </a:extLst>
          </p:cNvPr>
          <p:cNvSpPr txBox="1"/>
          <p:nvPr/>
        </p:nvSpPr>
        <p:spPr>
          <a:xfrm>
            <a:off x="6380163" y="2235141"/>
            <a:ext cx="2406362" cy="400110"/>
          </a:xfrm>
          <a:prstGeom prst="rect">
            <a:avLst/>
          </a:prstGeom>
          <a:noFill/>
        </p:spPr>
        <p:txBody>
          <a:bodyPr wrap="square" rtlCol="0">
            <a:spAutoFit/>
          </a:bodyPr>
          <a:lstStyle/>
          <a:p>
            <a:pPr algn="r"/>
            <a:r>
              <a:rPr lang="da-DK" sz="1000"/>
              <a:t>Ændring i andel (%-point) af </a:t>
            </a:r>
          </a:p>
          <a:p>
            <a:pPr algn="r"/>
            <a:r>
              <a:rPr lang="da-DK" sz="1000"/>
              <a:t>anpartsselskaber 2024-25</a:t>
            </a:r>
          </a:p>
        </p:txBody>
      </p:sp>
      <p:graphicFrame>
        <p:nvGraphicFramePr>
          <p:cNvPr id="30" name="Chart 29">
            <a:extLst>
              <a:ext uri="{FF2B5EF4-FFF2-40B4-BE49-F238E27FC236}">
                <a16:creationId xmlns:a16="http://schemas.microsoft.com/office/drawing/2014/main" id="{3A342C09-081F-D4D2-4138-B127386AEBCE}"/>
              </a:ext>
            </a:extLst>
          </p:cNvPr>
          <p:cNvGraphicFramePr/>
          <p:nvPr>
            <p:custDataLst>
              <p:tags r:id="rId2"/>
            </p:custDataLst>
            <p:extLst>
              <p:ext uri="{D42A27DB-BD31-4B8C-83A1-F6EECF244321}">
                <p14:modId xmlns:p14="http://schemas.microsoft.com/office/powerpoint/2010/main" val="3705059099"/>
              </p:ext>
            </p:extLst>
          </p:nvPr>
        </p:nvGraphicFramePr>
        <p:xfrm>
          <a:off x="2236788" y="2422525"/>
          <a:ext cx="4359275" cy="4232275"/>
        </p:xfrm>
        <a:graphic>
          <a:graphicData uri="http://schemas.openxmlformats.org/drawingml/2006/chart">
            <c:chart xmlns:c="http://schemas.openxmlformats.org/drawingml/2006/chart" xmlns:r="http://schemas.openxmlformats.org/officeDocument/2006/relationships" r:id="rId24"/>
          </a:graphicData>
        </a:graphic>
      </p:graphicFrame>
      <p:cxnSp>
        <p:nvCxnSpPr>
          <p:cNvPr id="7" name="Straight Connector 6">
            <a:extLst>
              <a:ext uri="{FF2B5EF4-FFF2-40B4-BE49-F238E27FC236}">
                <a16:creationId xmlns:a16="http://schemas.microsoft.com/office/drawing/2014/main" id="{89D3480D-1281-B6A8-D8DD-22E94F9C3BFF}"/>
              </a:ext>
            </a:extLst>
          </p:cNvPr>
          <p:cNvCxnSpPr>
            <a:cxnSpLocks/>
          </p:cNvCxnSpPr>
          <p:nvPr>
            <p:custDataLst>
              <p:tags r:id="rId3"/>
            </p:custDataLst>
          </p:nvPr>
        </p:nvCxnSpPr>
        <p:spPr bwMode="auto">
          <a:xfrm flipH="1">
            <a:off x="6208713" y="6238875"/>
            <a:ext cx="412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3" name="Text Placeholder 2">
            <a:extLst>
              <a:ext uri="{FF2B5EF4-FFF2-40B4-BE49-F238E27FC236}">
                <a16:creationId xmlns:a16="http://schemas.microsoft.com/office/drawing/2014/main" id="{4929ADFF-E7FE-8C21-1490-49A6DBA3A835}"/>
              </a:ext>
            </a:extLst>
          </p:cNvPr>
          <p:cNvSpPr>
            <a:spLocks noGrp="1"/>
          </p:cNvSpPr>
          <p:nvPr>
            <p:custDataLst>
              <p:tags r:id="rId4"/>
            </p:custDataLst>
          </p:nvPr>
        </p:nvSpPr>
        <p:spPr bwMode="gray">
          <a:xfrm>
            <a:off x="6008688" y="2767013"/>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6905EC-C069-49C4-8565-4F672DC6FE34}" type="datetime'''2'''''''''''''''''''''',''''''''''''''''''''''9''%'''">
              <a:rPr lang="en-GB" altLang="en-US" sz="1000" smtClean="0">
                <a:solidFill>
                  <a:schemeClr val="bg1"/>
                </a:solidFill>
                <a:effectLst/>
                <a:latin typeface="+mn-lt"/>
              </a:rPr>
              <a:pPr marL="0" indent="0" algn="ctr">
                <a:spcBef>
                  <a:spcPct val="0"/>
                </a:spcBef>
                <a:spcAft>
                  <a:spcPct val="0"/>
                </a:spcAft>
                <a:buNone/>
              </a:pPr>
              <a:t>2,9%</a:t>
            </a:fld>
            <a:endParaRPr lang="en-GB" sz="1000">
              <a:solidFill>
                <a:schemeClr val="bg1"/>
              </a:solidFill>
              <a:latin typeface="+mn-lt"/>
            </a:endParaRPr>
          </a:p>
        </p:txBody>
      </p:sp>
      <p:sp>
        <p:nvSpPr>
          <p:cNvPr id="66" name="Text Placeholder 2">
            <a:extLst>
              <a:ext uri="{FF2B5EF4-FFF2-40B4-BE49-F238E27FC236}">
                <a16:creationId xmlns:a16="http://schemas.microsoft.com/office/drawing/2014/main" id="{2BCC4B0D-B7A5-B821-B696-FDD9FBB92E24}"/>
              </a:ext>
            </a:extLst>
          </p:cNvPr>
          <p:cNvSpPr>
            <a:spLocks noGrp="1"/>
          </p:cNvSpPr>
          <p:nvPr>
            <p:custDataLst>
              <p:tags r:id="rId5"/>
            </p:custDataLst>
          </p:nvPr>
        </p:nvSpPr>
        <p:spPr bwMode="gray">
          <a:xfrm>
            <a:off x="5986463" y="3144838"/>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5BB46C-4240-4DD3-A628-90429C352847}" type="datetime'''''''''4'''''''''''''''',''''''''''1''''%'">
              <a:rPr lang="da-DK" altLang="en-US" sz="1000" smtClean="0">
                <a:solidFill>
                  <a:schemeClr val="bg1"/>
                </a:solidFill>
                <a:effectLst/>
                <a:latin typeface="+mn-lt"/>
              </a:rPr>
              <a:pPr marL="0" indent="0" algn="ctr">
                <a:spcBef>
                  <a:spcPct val="0"/>
                </a:spcBef>
                <a:spcAft>
                  <a:spcPct val="0"/>
                </a:spcAft>
                <a:buNone/>
              </a:pPr>
              <a:t>4,1%</a:t>
            </a:fld>
            <a:endParaRPr lang="da-DK" sz="1000">
              <a:solidFill>
                <a:schemeClr val="bg1"/>
              </a:solidFill>
              <a:latin typeface="+mn-lt"/>
            </a:endParaRPr>
          </a:p>
        </p:txBody>
      </p:sp>
      <p:sp>
        <p:nvSpPr>
          <p:cNvPr id="102" name="Text Placeholder 2">
            <a:extLst>
              <a:ext uri="{FF2B5EF4-FFF2-40B4-BE49-F238E27FC236}">
                <a16:creationId xmlns:a16="http://schemas.microsoft.com/office/drawing/2014/main" id="{187B8842-182E-A469-D6B6-ED3B9D7CA37E}"/>
              </a:ext>
            </a:extLst>
          </p:cNvPr>
          <p:cNvSpPr>
            <a:spLocks noGrp="1"/>
          </p:cNvSpPr>
          <p:nvPr>
            <p:custDataLst>
              <p:tags r:id="rId6"/>
            </p:custDataLst>
          </p:nvPr>
        </p:nvSpPr>
        <p:spPr bwMode="gray">
          <a:xfrm>
            <a:off x="6042025" y="3524250"/>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6ADAFE-62AB-49A3-9ACF-0C08CECA9159}" type="datetime'''''''''''''1'',''''2%'''''">
              <a:rPr lang="en-GB" altLang="en-US" sz="1000" smtClean="0">
                <a:solidFill>
                  <a:schemeClr val="bg1"/>
                </a:solidFill>
                <a:effectLst/>
                <a:latin typeface="+mn-lt"/>
              </a:rPr>
              <a:pPr marL="0" indent="0" algn="ctr">
                <a:spcBef>
                  <a:spcPct val="0"/>
                </a:spcBef>
                <a:spcAft>
                  <a:spcPct val="0"/>
                </a:spcAft>
                <a:buNone/>
              </a:pPr>
              <a:t>1,2%</a:t>
            </a:fld>
            <a:endParaRPr lang="en-GB" sz="1000">
              <a:solidFill>
                <a:schemeClr val="bg1"/>
              </a:solidFill>
              <a:latin typeface="+mn-lt"/>
            </a:endParaRPr>
          </a:p>
        </p:txBody>
      </p:sp>
      <p:sp>
        <p:nvSpPr>
          <p:cNvPr id="68" name="Text Placeholder 2">
            <a:extLst>
              <a:ext uri="{FF2B5EF4-FFF2-40B4-BE49-F238E27FC236}">
                <a16:creationId xmlns:a16="http://schemas.microsoft.com/office/drawing/2014/main" id="{098FA86A-D28B-F9A7-4CEB-6321B895850F}"/>
              </a:ext>
            </a:extLst>
          </p:cNvPr>
          <p:cNvSpPr>
            <a:spLocks noGrp="1"/>
          </p:cNvSpPr>
          <p:nvPr>
            <p:custDataLst>
              <p:tags r:id="rId7"/>
            </p:custDataLst>
          </p:nvPr>
        </p:nvSpPr>
        <p:spPr bwMode="gray">
          <a:xfrm>
            <a:off x="6053138" y="3902075"/>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2D7680-1FC8-4388-B772-0C45638259BD}" type="datetime'''''''''''''''''''0'''''''',''6''''''''''''''%'">
              <a:rPr lang="da-DK" altLang="en-US" sz="1000" smtClean="0">
                <a:solidFill>
                  <a:schemeClr val="bg1"/>
                </a:solidFill>
                <a:effectLst/>
                <a:latin typeface="+mn-lt"/>
              </a:rPr>
              <a:pPr marL="0" indent="0" algn="ctr">
                <a:spcBef>
                  <a:spcPct val="0"/>
                </a:spcBef>
                <a:spcAft>
                  <a:spcPct val="0"/>
                </a:spcAft>
                <a:buNone/>
              </a:pPr>
              <a:t>0,6%</a:t>
            </a:fld>
            <a:endParaRPr lang="da-DK" sz="1000">
              <a:solidFill>
                <a:schemeClr val="bg1"/>
              </a:solidFill>
              <a:latin typeface="+mn-lt"/>
            </a:endParaRPr>
          </a:p>
        </p:txBody>
      </p:sp>
      <p:sp>
        <p:nvSpPr>
          <p:cNvPr id="103" name="Text Placeholder 2">
            <a:extLst>
              <a:ext uri="{FF2B5EF4-FFF2-40B4-BE49-F238E27FC236}">
                <a16:creationId xmlns:a16="http://schemas.microsoft.com/office/drawing/2014/main" id="{70C3AC08-426D-E0A1-528F-2D8D88C7A6DB}"/>
              </a:ext>
            </a:extLst>
          </p:cNvPr>
          <p:cNvSpPr>
            <a:spLocks noGrp="1"/>
          </p:cNvSpPr>
          <p:nvPr>
            <p:custDataLst>
              <p:tags r:id="rId8"/>
            </p:custDataLst>
          </p:nvPr>
        </p:nvSpPr>
        <p:spPr bwMode="gray">
          <a:xfrm>
            <a:off x="6048375" y="4279900"/>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92080E-A089-44A4-869D-DFB984B812B1}" type="datetime'0'''''''''''''''''''''''''''''''''''''''''''''',''''''''8%'''">
              <a:rPr lang="en-GB" altLang="en-US" sz="1000" smtClean="0">
                <a:solidFill>
                  <a:schemeClr val="bg1"/>
                </a:solidFill>
                <a:effectLst/>
                <a:latin typeface="+mn-lt"/>
              </a:rPr>
              <a:pPr marL="0" indent="0" algn="ctr">
                <a:spcBef>
                  <a:spcPct val="0"/>
                </a:spcBef>
                <a:spcAft>
                  <a:spcPct val="0"/>
                </a:spcAft>
                <a:buNone/>
              </a:pPr>
              <a:t>0,8%</a:t>
            </a:fld>
            <a:endParaRPr lang="en-GB" sz="1000">
              <a:solidFill>
                <a:schemeClr val="bg1"/>
              </a:solidFill>
              <a:latin typeface="+mn-lt"/>
            </a:endParaRPr>
          </a:p>
        </p:txBody>
      </p:sp>
      <p:sp>
        <p:nvSpPr>
          <p:cNvPr id="104" name="Text Placeholder 2">
            <a:extLst>
              <a:ext uri="{FF2B5EF4-FFF2-40B4-BE49-F238E27FC236}">
                <a16:creationId xmlns:a16="http://schemas.microsoft.com/office/drawing/2014/main" id="{5E0B7333-8DC1-12EE-7CF6-D2A04A421831}"/>
              </a:ext>
            </a:extLst>
          </p:cNvPr>
          <p:cNvSpPr>
            <a:spLocks noGrp="1"/>
          </p:cNvSpPr>
          <p:nvPr>
            <p:custDataLst>
              <p:tags r:id="rId9"/>
            </p:custDataLst>
          </p:nvPr>
        </p:nvSpPr>
        <p:spPr bwMode="gray">
          <a:xfrm>
            <a:off x="6011863" y="4657725"/>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F4EB06-4652-46DE-B3AC-FD1B45FE74D8}" type="datetime'''2'''',''''''''''''''''''''''''''''8%'''''">
              <a:rPr lang="en-GB" altLang="en-US" sz="1000" smtClean="0">
                <a:solidFill>
                  <a:schemeClr val="bg1"/>
                </a:solidFill>
                <a:effectLst/>
                <a:latin typeface="+mn-lt"/>
              </a:rPr>
              <a:pPr marL="0" indent="0" algn="ctr">
                <a:spcBef>
                  <a:spcPct val="0"/>
                </a:spcBef>
                <a:spcAft>
                  <a:spcPct val="0"/>
                </a:spcAft>
                <a:buNone/>
              </a:pPr>
              <a:t>2,8%</a:t>
            </a:fld>
            <a:endParaRPr lang="en-GB" sz="1000">
              <a:solidFill>
                <a:schemeClr val="bg1"/>
              </a:solidFill>
              <a:latin typeface="+mn-lt"/>
            </a:endParaRPr>
          </a:p>
        </p:txBody>
      </p:sp>
      <p:sp>
        <p:nvSpPr>
          <p:cNvPr id="71" name="Text Placeholder 2">
            <a:extLst>
              <a:ext uri="{FF2B5EF4-FFF2-40B4-BE49-F238E27FC236}">
                <a16:creationId xmlns:a16="http://schemas.microsoft.com/office/drawing/2014/main" id="{5BE1289A-2CD4-2451-CE32-7EDD6A5B0A75}"/>
              </a:ext>
            </a:extLst>
          </p:cNvPr>
          <p:cNvSpPr>
            <a:spLocks noGrp="1"/>
          </p:cNvSpPr>
          <p:nvPr>
            <p:custDataLst>
              <p:tags r:id="rId10"/>
            </p:custDataLst>
          </p:nvPr>
        </p:nvSpPr>
        <p:spPr bwMode="gray">
          <a:xfrm>
            <a:off x="6056313" y="5035550"/>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575166-4EEE-41F4-BE94-84EDD31F3C5A}" type="datetime'''''''0,''''''5''''''''%'''">
              <a:rPr lang="da-DK" altLang="en-US" sz="1000" smtClean="0">
                <a:solidFill>
                  <a:schemeClr val="bg1"/>
                </a:solidFill>
                <a:effectLst/>
                <a:latin typeface="+mn-lt"/>
              </a:rPr>
              <a:pPr marL="0" indent="0" algn="ctr">
                <a:spcBef>
                  <a:spcPct val="0"/>
                </a:spcBef>
                <a:spcAft>
                  <a:spcPct val="0"/>
                </a:spcAft>
                <a:buNone/>
              </a:pPr>
              <a:t>0,5%</a:t>
            </a:fld>
            <a:endParaRPr lang="da-DK" sz="1000">
              <a:solidFill>
                <a:schemeClr val="bg1"/>
              </a:solidFill>
              <a:latin typeface="+mn-lt"/>
            </a:endParaRPr>
          </a:p>
        </p:txBody>
      </p:sp>
      <p:sp>
        <p:nvSpPr>
          <p:cNvPr id="125" name="Text Placeholder 2">
            <a:extLst>
              <a:ext uri="{FF2B5EF4-FFF2-40B4-BE49-F238E27FC236}">
                <a16:creationId xmlns:a16="http://schemas.microsoft.com/office/drawing/2014/main" id="{FA576C29-949B-D60A-CCE7-5F1747326BD7}"/>
              </a:ext>
            </a:extLst>
          </p:cNvPr>
          <p:cNvSpPr>
            <a:spLocks noGrp="1"/>
          </p:cNvSpPr>
          <p:nvPr>
            <p:custDataLst>
              <p:tags r:id="rId11"/>
            </p:custDataLst>
          </p:nvPr>
        </p:nvSpPr>
        <p:spPr bwMode="gray">
          <a:xfrm>
            <a:off x="6057900" y="5414963"/>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63941D-0935-4469-A655-7D29C3806A6C}" type="datetime'''''0'',''''''''''''''''''''''''4''''''''''''%'''''''">
              <a:rPr lang="en-GB" altLang="en-US" sz="1000" smtClean="0">
                <a:solidFill>
                  <a:schemeClr val="bg1"/>
                </a:solidFill>
                <a:effectLst/>
                <a:latin typeface="+mn-lt"/>
              </a:rPr>
              <a:pPr marL="0" indent="0" algn="ctr">
                <a:spcBef>
                  <a:spcPct val="0"/>
                </a:spcBef>
                <a:spcAft>
                  <a:spcPct val="0"/>
                </a:spcAft>
                <a:buNone/>
              </a:pPr>
              <a:t>0,4%</a:t>
            </a:fld>
            <a:endParaRPr lang="en-GB" sz="1000">
              <a:solidFill>
                <a:schemeClr val="bg1"/>
              </a:solidFill>
              <a:latin typeface="+mn-lt"/>
            </a:endParaRPr>
          </a:p>
        </p:txBody>
      </p:sp>
      <p:sp>
        <p:nvSpPr>
          <p:cNvPr id="109" name="Text Placeholder 2">
            <a:extLst>
              <a:ext uri="{FF2B5EF4-FFF2-40B4-BE49-F238E27FC236}">
                <a16:creationId xmlns:a16="http://schemas.microsoft.com/office/drawing/2014/main" id="{3A53F551-1D0B-3B71-0393-7B14173694B2}"/>
              </a:ext>
            </a:extLst>
          </p:cNvPr>
          <p:cNvSpPr>
            <a:spLocks noGrp="1"/>
          </p:cNvSpPr>
          <p:nvPr>
            <p:custDataLst>
              <p:tags r:id="rId12"/>
            </p:custDataLst>
          </p:nvPr>
        </p:nvSpPr>
        <p:spPr bwMode="gray">
          <a:xfrm>
            <a:off x="6062663" y="5792788"/>
            <a:ext cx="317500" cy="136525"/>
          </a:xfrm>
          <a:prstGeom prst="rect">
            <a:avLst/>
          </a:prstGeom>
          <a:solidFill>
            <a:schemeClr val="accent3"/>
          </a:solidFill>
          <a:ln>
            <a:noFill/>
          </a:ln>
          <a:effec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F509BE-9666-43F3-A553-2DFC29112F5B}" type="datetime'''''''0'''''''',1''''''''%'''''''''''''">
              <a:rPr lang="da-DK" altLang="en-US" sz="1000" smtClean="0">
                <a:solidFill>
                  <a:schemeClr val="bg1"/>
                </a:solidFill>
                <a:effectLst/>
                <a:latin typeface="+mn-lt"/>
              </a:rPr>
              <a:pPr marL="0" indent="0" algn="ctr">
                <a:spcBef>
                  <a:spcPct val="0"/>
                </a:spcBef>
                <a:spcAft>
                  <a:spcPct val="0"/>
                </a:spcAft>
                <a:buNone/>
              </a:pPr>
              <a:t>0,1%</a:t>
            </a:fld>
            <a:endParaRPr lang="da-DK" sz="1000">
              <a:solidFill>
                <a:schemeClr val="bg1"/>
              </a:solidFill>
              <a:latin typeface="+mn-lt"/>
            </a:endParaRPr>
          </a:p>
        </p:txBody>
      </p:sp>
      <p:sp>
        <p:nvSpPr>
          <p:cNvPr id="75" name="Rectangle 74">
            <a:extLst>
              <a:ext uri="{FF2B5EF4-FFF2-40B4-BE49-F238E27FC236}">
                <a16:creationId xmlns:a16="http://schemas.microsoft.com/office/drawing/2014/main" id="{816332A1-E32A-34E9-6119-97AE1734F35E}"/>
              </a:ext>
            </a:extLst>
          </p:cNvPr>
          <p:cNvSpPr/>
          <p:nvPr>
            <p:custDataLst>
              <p:tags r:id="rId13"/>
            </p:custDataLst>
          </p:nvPr>
        </p:nvSpPr>
        <p:spPr bwMode="auto">
          <a:xfrm>
            <a:off x="482600" y="22193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6" name="Rectangle 75">
            <a:extLst>
              <a:ext uri="{FF2B5EF4-FFF2-40B4-BE49-F238E27FC236}">
                <a16:creationId xmlns:a16="http://schemas.microsoft.com/office/drawing/2014/main" id="{3EF57A1C-841B-A47B-24F3-513752BAE5A5}"/>
              </a:ext>
            </a:extLst>
          </p:cNvPr>
          <p:cNvSpPr/>
          <p:nvPr>
            <p:custDataLst>
              <p:tags r:id="rId14"/>
            </p:custDataLst>
          </p:nvPr>
        </p:nvSpPr>
        <p:spPr bwMode="auto">
          <a:xfrm>
            <a:off x="2239963" y="2219325"/>
            <a:ext cx="179388" cy="1333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7" name="Rectangle 76">
            <a:extLst>
              <a:ext uri="{FF2B5EF4-FFF2-40B4-BE49-F238E27FC236}">
                <a16:creationId xmlns:a16="http://schemas.microsoft.com/office/drawing/2014/main" id="{CAB23B5F-E42C-5C5C-0226-AF8F7B64670F}"/>
              </a:ext>
            </a:extLst>
          </p:cNvPr>
          <p:cNvSpPr/>
          <p:nvPr>
            <p:custDataLst>
              <p:tags r:id="rId15"/>
            </p:custDataLst>
          </p:nvPr>
        </p:nvSpPr>
        <p:spPr bwMode="auto">
          <a:xfrm>
            <a:off x="3452813" y="2219325"/>
            <a:ext cx="179388" cy="1333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8" name="Text Placeholder 2">
            <a:extLst>
              <a:ext uri="{FF2B5EF4-FFF2-40B4-BE49-F238E27FC236}">
                <a16:creationId xmlns:a16="http://schemas.microsoft.com/office/drawing/2014/main" id="{5564F3FE-D38F-318C-396A-B34F7A0343F9}"/>
              </a:ext>
            </a:extLst>
          </p:cNvPr>
          <p:cNvSpPr>
            <a:spLocks noGrp="1"/>
          </p:cNvSpPr>
          <p:nvPr>
            <p:custDataLst>
              <p:tags r:id="rId16"/>
            </p:custDataLst>
          </p:nvPr>
        </p:nvSpPr>
        <p:spPr bwMode="auto">
          <a:xfrm>
            <a:off x="712788" y="2227263"/>
            <a:ext cx="1425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729CE28-2527-4485-B278-CC78540789B1}" type="datetime'''''Enke''lt''''''ma''''''nd''svi''''rk''''''''s''om''''hed'">
              <a:rPr lang="da-DK" altLang="en-US" sz="1000" smtClean="0">
                <a:latin typeface="+mn-lt"/>
              </a:rPr>
              <a:pPr marL="0" indent="0">
                <a:spcBef>
                  <a:spcPct val="0"/>
                </a:spcBef>
                <a:spcAft>
                  <a:spcPct val="0"/>
                </a:spcAft>
                <a:buNone/>
              </a:pPr>
              <a:t>Enkeltmandsvirksomhed</a:t>
            </a:fld>
            <a:endParaRPr lang="da-DK" sz="1000">
              <a:latin typeface="+mn-lt"/>
            </a:endParaRPr>
          </a:p>
        </p:txBody>
      </p:sp>
      <p:sp>
        <p:nvSpPr>
          <p:cNvPr id="79" name="Text Placeholder 2">
            <a:extLst>
              <a:ext uri="{FF2B5EF4-FFF2-40B4-BE49-F238E27FC236}">
                <a16:creationId xmlns:a16="http://schemas.microsoft.com/office/drawing/2014/main" id="{F9E5E920-B216-E221-BC98-2B6CFEB49264}"/>
              </a:ext>
            </a:extLst>
          </p:cNvPr>
          <p:cNvSpPr>
            <a:spLocks noGrp="1"/>
          </p:cNvSpPr>
          <p:nvPr>
            <p:custDataLst>
              <p:tags r:id="rId17"/>
            </p:custDataLst>
          </p:nvPr>
        </p:nvSpPr>
        <p:spPr bwMode="auto">
          <a:xfrm>
            <a:off x="2470150" y="2227263"/>
            <a:ext cx="881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6C19B6-A7F5-4174-BC32-9068210D5BC6}" type="datetime'''''A''n''''''p''''''a''''r''''t''''''sse''''l''''''''skab'">
              <a:rPr lang="da-DK" altLang="en-US" sz="1000" smtClean="0">
                <a:latin typeface="+mn-lt"/>
              </a:rPr>
              <a:pPr marL="0" indent="0">
                <a:spcBef>
                  <a:spcPct val="0"/>
                </a:spcBef>
                <a:spcAft>
                  <a:spcPct val="0"/>
                </a:spcAft>
                <a:buNone/>
              </a:pPr>
              <a:t>Anpartsselskab</a:t>
            </a:fld>
            <a:endParaRPr lang="da-DK" sz="1000">
              <a:latin typeface="+mn-lt"/>
            </a:endParaRPr>
          </a:p>
        </p:txBody>
      </p:sp>
      <p:sp>
        <p:nvSpPr>
          <p:cNvPr id="80" name="Text Placeholder 2">
            <a:extLst>
              <a:ext uri="{FF2B5EF4-FFF2-40B4-BE49-F238E27FC236}">
                <a16:creationId xmlns:a16="http://schemas.microsoft.com/office/drawing/2014/main" id="{0F508D8A-09C9-ED9D-CFAF-2065695E41FE}"/>
              </a:ext>
            </a:extLst>
          </p:cNvPr>
          <p:cNvSpPr>
            <a:spLocks noGrp="1"/>
          </p:cNvSpPr>
          <p:nvPr>
            <p:custDataLst>
              <p:tags r:id="rId18"/>
            </p:custDataLst>
          </p:nvPr>
        </p:nvSpPr>
        <p:spPr bwMode="auto">
          <a:xfrm>
            <a:off x="3683000" y="2227263"/>
            <a:ext cx="728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7645AA-5DED-4FAE-81D3-3806BF9FB78B}" type="datetime'''Ak''''''t''''''''''''''ie''s''''els''''''''''k''a''''''''b'">
              <a:rPr lang="da-DK" altLang="en-US" sz="1000" smtClean="0">
                <a:latin typeface="+mn-lt"/>
              </a:rPr>
              <a:pPr marL="0" indent="0">
                <a:spcBef>
                  <a:spcPct val="0"/>
                </a:spcBef>
                <a:spcAft>
                  <a:spcPct val="0"/>
                </a:spcAft>
                <a:buNone/>
              </a:pPr>
              <a:t>Aktieselskab</a:t>
            </a:fld>
            <a:endParaRPr lang="da-DK" sz="1000">
              <a:latin typeface="+mn-lt"/>
            </a:endParaRPr>
          </a:p>
        </p:txBody>
      </p:sp>
      <p:cxnSp>
        <p:nvCxnSpPr>
          <p:cNvPr id="86" name="Straight Connector 85">
            <a:extLst>
              <a:ext uri="{FF2B5EF4-FFF2-40B4-BE49-F238E27FC236}">
                <a16:creationId xmlns:a16="http://schemas.microsoft.com/office/drawing/2014/main" id="{073B1A8D-4CD3-3910-4C6B-18F9D544A7D1}"/>
              </a:ext>
            </a:extLst>
          </p:cNvPr>
          <p:cNvCxnSpPr>
            <a:cxnSpLocks/>
          </p:cNvCxnSpPr>
          <p:nvPr/>
        </p:nvCxnSpPr>
        <p:spPr>
          <a:xfrm>
            <a:off x="431798" y="2168525"/>
            <a:ext cx="83559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7CD9A0D-D425-724B-FD0E-FEC9718AE12A}"/>
              </a:ext>
            </a:extLst>
          </p:cNvPr>
          <p:cNvSpPr txBox="1"/>
          <p:nvPr/>
        </p:nvSpPr>
        <p:spPr>
          <a:xfrm>
            <a:off x="10815638" y="6424613"/>
            <a:ext cx="942975" cy="246221"/>
          </a:xfrm>
          <a:prstGeom prst="rect">
            <a:avLst/>
          </a:prstGeom>
          <a:noFill/>
        </p:spPr>
        <p:txBody>
          <a:bodyPr wrap="square" rtlCol="0">
            <a:spAutoFit/>
          </a:bodyPr>
          <a:lstStyle/>
          <a:p>
            <a:pPr algn="r"/>
            <a:r>
              <a:rPr lang="en-GB" sz="1000"/>
              <a:t>5</a:t>
            </a:r>
          </a:p>
        </p:txBody>
      </p:sp>
      <p:sp>
        <p:nvSpPr>
          <p:cNvPr id="17" name="Text Placeholder 3">
            <a:extLst>
              <a:ext uri="{FF2B5EF4-FFF2-40B4-BE49-F238E27FC236}">
                <a16:creationId xmlns:a16="http://schemas.microsoft.com/office/drawing/2014/main" id="{A427E028-5B64-FC7F-C5CC-C25C58291E90}"/>
              </a:ext>
            </a:extLst>
          </p:cNvPr>
          <p:cNvSpPr>
            <a:spLocks noGrp="1"/>
          </p:cNvSpPr>
          <p:nvPr>
            <p:ph type="body" sz="quarter" idx="15"/>
          </p:nvPr>
        </p:nvSpPr>
        <p:spPr>
          <a:xfrm>
            <a:off x="431800" y="6461126"/>
            <a:ext cx="9331325" cy="196850"/>
          </a:xfrm>
        </p:spPr>
        <p:txBody>
          <a:bodyPr/>
          <a:lstStyle/>
          <a:p>
            <a:r>
              <a:rPr lang="en-GB"/>
              <a:t>Note: Brancher er </a:t>
            </a:r>
            <a:r>
              <a:rPr lang="en-GB" err="1"/>
              <a:t>grupperet</a:t>
            </a:r>
            <a:r>
              <a:rPr lang="en-GB"/>
              <a:t> </a:t>
            </a:r>
            <a:r>
              <a:rPr lang="en-GB" err="1"/>
              <a:t>jf</a:t>
            </a:r>
            <a:r>
              <a:rPr lang="en-GB"/>
              <a:t>. </a:t>
            </a:r>
            <a:r>
              <a:rPr lang="en-GB" err="1"/>
              <a:t>Danmarks</a:t>
            </a:r>
            <a:r>
              <a:rPr lang="en-GB"/>
              <a:t> </a:t>
            </a:r>
            <a:r>
              <a:rPr lang="en-GB" err="1"/>
              <a:t>Statistiks</a:t>
            </a:r>
            <a:r>
              <a:rPr lang="en-GB"/>
              <a:t> </a:t>
            </a:r>
            <a:r>
              <a:rPr lang="en-GB" err="1"/>
              <a:t>standardgruppering</a:t>
            </a:r>
            <a:r>
              <a:rPr lang="en-GB"/>
              <a:t> (</a:t>
            </a:r>
            <a:r>
              <a:rPr lang="da-DK"/>
              <a:t>10-Std.gr.) (</a:t>
            </a:r>
            <a:r>
              <a:rPr lang="da-DK">
                <a:hlinkClick r:id="rId25"/>
              </a:rPr>
              <a:t>Dansk Branchekode 2025</a:t>
            </a:r>
            <a:r>
              <a:rPr lang="da-DK"/>
              <a:t>). </a:t>
            </a:r>
            <a:endParaRPr lang="en-GB"/>
          </a:p>
        </p:txBody>
      </p:sp>
      <p:sp>
        <p:nvSpPr>
          <p:cNvPr id="19" name="Text Placeholder 4">
            <a:extLst>
              <a:ext uri="{FF2B5EF4-FFF2-40B4-BE49-F238E27FC236}">
                <a16:creationId xmlns:a16="http://schemas.microsoft.com/office/drawing/2014/main" id="{8CFA9B19-76A0-CA12-7536-B2E4AE52D2A6}"/>
              </a:ext>
            </a:extLst>
          </p:cNvPr>
          <p:cNvSpPr>
            <a:spLocks noGrp="1"/>
          </p:cNvSpPr>
          <p:nvPr>
            <p:ph type="body" sz="quarter" idx="16"/>
          </p:nvPr>
        </p:nvSpPr>
        <p:spPr>
          <a:xfrm>
            <a:off x="431800" y="6661150"/>
            <a:ext cx="9331325" cy="196850"/>
          </a:xfrm>
        </p:spPr>
        <p:txBody>
          <a:bodyPr/>
          <a:lstStyle/>
          <a:p>
            <a:r>
              <a:rPr lang="da-DK"/>
              <a:t>Kilde: </a:t>
            </a:r>
            <a:r>
              <a:rPr lang="da-DK" err="1"/>
              <a:t>LassoX</a:t>
            </a:r>
            <a:r>
              <a:rPr lang="da-DK"/>
              <a:t> – hentet februar 2025</a:t>
            </a:r>
          </a:p>
          <a:p>
            <a:endParaRPr lang="en-GB"/>
          </a:p>
        </p:txBody>
      </p:sp>
      <p:graphicFrame>
        <p:nvGraphicFramePr>
          <p:cNvPr id="285" name="Chart 3">
            <a:extLst>
              <a:ext uri="{FF2B5EF4-FFF2-40B4-BE49-F238E27FC236}">
                <a16:creationId xmlns:a16="http://schemas.microsoft.com/office/drawing/2014/main" id="{391FB885-C9BA-60F3-9D25-9720FEC1F60C}"/>
              </a:ext>
            </a:extLst>
          </p:cNvPr>
          <p:cNvGraphicFramePr/>
          <p:nvPr>
            <p:custDataLst>
              <p:tags r:id="rId19"/>
            </p:custDataLst>
            <p:extLst>
              <p:ext uri="{D42A27DB-BD31-4B8C-83A1-F6EECF244321}">
                <p14:modId xmlns:p14="http://schemas.microsoft.com/office/powerpoint/2010/main" val="1140403669"/>
              </p:ext>
            </p:extLst>
          </p:nvPr>
        </p:nvGraphicFramePr>
        <p:xfrm>
          <a:off x="6846888" y="2435225"/>
          <a:ext cx="1854200" cy="4251325"/>
        </p:xfrm>
        <a:graphic>
          <a:graphicData uri="http://schemas.openxmlformats.org/drawingml/2006/chart">
            <c:chart xmlns:c="http://schemas.openxmlformats.org/drawingml/2006/chart" xmlns:r="http://schemas.openxmlformats.org/officeDocument/2006/relationships" r:id="rId26"/>
          </a:graphicData>
        </a:graphic>
      </p:graphicFrame>
      <p:sp>
        <p:nvSpPr>
          <p:cNvPr id="233" name="TextBox 232">
            <a:extLst>
              <a:ext uri="{FF2B5EF4-FFF2-40B4-BE49-F238E27FC236}">
                <a16:creationId xmlns:a16="http://schemas.microsoft.com/office/drawing/2014/main" id="{218842B2-DB97-B97C-2CFE-2E6260F3ACCB}"/>
              </a:ext>
            </a:extLst>
          </p:cNvPr>
          <p:cNvSpPr txBox="1"/>
          <p:nvPr/>
        </p:nvSpPr>
        <p:spPr>
          <a:xfrm>
            <a:off x="9018588" y="1891526"/>
            <a:ext cx="808876" cy="276999"/>
          </a:xfrm>
          <a:prstGeom prst="rect">
            <a:avLst/>
          </a:prstGeom>
          <a:noFill/>
        </p:spPr>
        <p:txBody>
          <a:bodyPr wrap="none" lIns="0" rtlCol="0">
            <a:spAutoFit/>
          </a:bodyPr>
          <a:lstStyle/>
          <a:p>
            <a:r>
              <a:rPr lang="en-GB" sz="1200" b="1"/>
              <a:t>Highlights</a:t>
            </a:r>
          </a:p>
        </p:txBody>
      </p:sp>
      <p:cxnSp>
        <p:nvCxnSpPr>
          <p:cNvPr id="234" name="Straight Connector 233">
            <a:extLst>
              <a:ext uri="{FF2B5EF4-FFF2-40B4-BE49-F238E27FC236}">
                <a16:creationId xmlns:a16="http://schemas.microsoft.com/office/drawing/2014/main" id="{465494D9-3999-2FD1-B3D6-ADE22769F48A}"/>
              </a:ext>
            </a:extLst>
          </p:cNvPr>
          <p:cNvCxnSpPr>
            <a:cxnSpLocks/>
          </p:cNvCxnSpPr>
          <p:nvPr/>
        </p:nvCxnSpPr>
        <p:spPr>
          <a:xfrm>
            <a:off x="9018588" y="2190750"/>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0B907469-709D-D4D6-35E8-D2A318345730}"/>
              </a:ext>
            </a:extLst>
          </p:cNvPr>
          <p:cNvSpPr txBox="1"/>
          <p:nvPr/>
        </p:nvSpPr>
        <p:spPr>
          <a:xfrm>
            <a:off x="9036051" y="2190750"/>
            <a:ext cx="2722560" cy="4078288"/>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Anpartsselskaber vinder frem: </a:t>
            </a:r>
            <a:r>
              <a:rPr lang="da-DK" sz="1000" b="0"/>
              <a:t>Flere nye virksomheder etableres som anpartsselskaber i 2025 på tværs af brancher.</a:t>
            </a:r>
          </a:p>
          <a:p>
            <a:endParaRPr lang="da-DK" sz="1000" b="0"/>
          </a:p>
          <a:p>
            <a:r>
              <a:rPr lang="da-DK" sz="1000"/>
              <a:t>Størst ændring indenfor handel og transport: </a:t>
            </a:r>
            <a:r>
              <a:rPr lang="da-DK" sz="1000" b="0"/>
              <a:t>Andelen steg mest indenfor handel, transport, overnatning og restauranter, muligvis drevet af højere risiko ved enkeltmandsvirksomheder i branchen.</a:t>
            </a:r>
          </a:p>
          <a:p>
            <a:endParaRPr lang="da-DK" sz="1000"/>
          </a:p>
          <a:p>
            <a:r>
              <a:rPr lang="da-DK" sz="1000"/>
              <a:t>Modsat udvikling indenfor finans: </a:t>
            </a:r>
            <a:r>
              <a:rPr lang="da-DK" sz="1000" b="0"/>
              <a:t>Andelen af anpartsselskaber faldt indenfor finansiering og forsikring.</a:t>
            </a:r>
          </a:p>
        </p:txBody>
      </p:sp>
    </p:spTree>
    <p:extLst>
      <p:ext uri="{BB962C8B-B14F-4D97-AF65-F5344CB8AC3E}">
        <p14:creationId xmlns:p14="http://schemas.microsoft.com/office/powerpoint/2010/main" val="2230902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C37DAD7D-214A-F930-F01F-58606348E7A5}"/>
              </a:ext>
            </a:extLst>
          </p:cNvPr>
          <p:cNvGraphicFramePr>
            <a:graphicFrameLocks noChangeAspect="1"/>
          </p:cNvGraphicFramePr>
          <p:nvPr>
            <p:custDataLst>
              <p:tags r:id="rId1"/>
            </p:custDataLst>
            <p:extLst>
              <p:ext uri="{D42A27DB-BD31-4B8C-83A1-F6EECF244321}">
                <p14:modId xmlns:p14="http://schemas.microsoft.com/office/powerpoint/2010/main" val="323813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58" name="think-cell data - do not delete" hidden="1">
                        <a:extLst>
                          <a:ext uri="{FF2B5EF4-FFF2-40B4-BE49-F238E27FC236}">
                            <a16:creationId xmlns:a16="http://schemas.microsoft.com/office/drawing/2014/main" id="{C37DAD7D-214A-F930-F01F-58606348E7A5}"/>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05E85-A669-B4A2-1444-EF3AD18C9981}"/>
              </a:ext>
            </a:extLst>
          </p:cNvPr>
          <p:cNvSpPr>
            <a:spLocks noGrp="1"/>
          </p:cNvSpPr>
          <p:nvPr>
            <p:ph type="title"/>
          </p:nvPr>
        </p:nvSpPr>
        <p:spPr/>
        <p:txBody>
          <a:bodyPr vert="horz"/>
          <a:lstStyle/>
          <a:p>
            <a:r>
              <a:rPr lang="da-DK" sz="2800"/>
              <a:t>Vækst i nystiftede virksomheder på tværs af regioner – størst vækst i Region Hovedstaden</a:t>
            </a:r>
            <a:endParaRPr lang="en-GB" sz="2800"/>
          </a:p>
        </p:txBody>
      </p:sp>
      <p:sp>
        <p:nvSpPr>
          <p:cNvPr id="3" name="Text Placeholder 2">
            <a:extLst>
              <a:ext uri="{FF2B5EF4-FFF2-40B4-BE49-F238E27FC236}">
                <a16:creationId xmlns:a16="http://schemas.microsoft.com/office/drawing/2014/main" id="{F73CBC1C-ECC6-F070-93E5-99A860C414BB}"/>
              </a:ext>
            </a:extLst>
          </p:cNvPr>
          <p:cNvSpPr>
            <a:spLocks noGrp="1"/>
          </p:cNvSpPr>
          <p:nvPr>
            <p:ph type="body" sz="quarter" idx="14"/>
          </p:nvPr>
        </p:nvSpPr>
        <p:spPr/>
        <p:txBody>
          <a:bodyPr/>
          <a:lstStyle/>
          <a:p>
            <a:r>
              <a:rPr lang="en-GB" err="1"/>
              <a:t>Regioner</a:t>
            </a:r>
            <a:endParaRPr lang="en-GB"/>
          </a:p>
        </p:txBody>
      </p:sp>
      <p:sp>
        <p:nvSpPr>
          <p:cNvPr id="5" name="Text Placeholder 4">
            <a:extLst>
              <a:ext uri="{FF2B5EF4-FFF2-40B4-BE49-F238E27FC236}">
                <a16:creationId xmlns:a16="http://schemas.microsoft.com/office/drawing/2014/main" id="{ABAFCC2B-DB63-C1F7-6034-BA8118564117}"/>
              </a:ext>
            </a:extLst>
          </p:cNvPr>
          <p:cNvSpPr>
            <a:spLocks noGrp="1"/>
          </p:cNvSpPr>
          <p:nvPr>
            <p:ph type="body" sz="quarter" idx="16"/>
          </p:nvPr>
        </p:nvSpPr>
        <p:spPr/>
        <p:txBody>
          <a:bodyPr/>
          <a:lstStyle/>
          <a:p>
            <a:r>
              <a:rPr lang="da-DK"/>
              <a:t>Kilde: </a:t>
            </a:r>
            <a:r>
              <a:rPr lang="da-DK" err="1"/>
              <a:t>LassoX</a:t>
            </a:r>
            <a:r>
              <a:rPr lang="da-DK"/>
              <a:t> – hentet februar 2025.</a:t>
            </a:r>
          </a:p>
          <a:p>
            <a:endParaRPr lang="en-GB"/>
          </a:p>
        </p:txBody>
      </p:sp>
      <p:cxnSp>
        <p:nvCxnSpPr>
          <p:cNvPr id="6" name="Straight Connector 5">
            <a:extLst>
              <a:ext uri="{FF2B5EF4-FFF2-40B4-BE49-F238E27FC236}">
                <a16:creationId xmlns:a16="http://schemas.microsoft.com/office/drawing/2014/main" id="{FE055DF2-1758-92DF-9B56-830F1F9E4661}"/>
              </a:ext>
            </a:extLst>
          </p:cNvPr>
          <p:cNvCxnSpPr>
            <a:cxnSpLocks/>
          </p:cNvCxnSpPr>
          <p:nvPr/>
        </p:nvCxnSpPr>
        <p:spPr>
          <a:xfrm>
            <a:off x="431798" y="2168525"/>
            <a:ext cx="40592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229BC97-04CA-686C-95FF-CE04311D37E1}"/>
              </a:ext>
            </a:extLst>
          </p:cNvPr>
          <p:cNvSpPr txBox="1"/>
          <p:nvPr/>
        </p:nvSpPr>
        <p:spPr>
          <a:xfrm>
            <a:off x="431799" y="1698621"/>
            <a:ext cx="4059240" cy="276999"/>
          </a:xfrm>
          <a:prstGeom prst="rect">
            <a:avLst/>
          </a:prstGeom>
          <a:noFill/>
        </p:spPr>
        <p:txBody>
          <a:bodyPr wrap="none" lIns="0" rtlCol="0">
            <a:noAutofit/>
          </a:bodyPr>
          <a:lstStyle/>
          <a:p>
            <a:r>
              <a:rPr lang="da-DK" sz="1200" b="1" noProof="0"/>
              <a:t>Regional fordeling af nystiftede virksomheder</a:t>
            </a:r>
            <a:r>
              <a:rPr lang="da-DK" sz="1200" b="1"/>
              <a:t> i </a:t>
            </a:r>
            <a:r>
              <a:rPr lang="da-DK" sz="1200" b="1" noProof="0"/>
              <a:t>2025, </a:t>
            </a:r>
            <a:br>
              <a:rPr lang="da-DK" sz="1200" b="1" noProof="0"/>
            </a:br>
            <a:r>
              <a:rPr lang="da-DK" sz="1200" noProof="0"/>
              <a:t>antal</a:t>
            </a:r>
          </a:p>
        </p:txBody>
      </p:sp>
      <p:grpSp>
        <p:nvGrpSpPr>
          <p:cNvPr id="8" name="Gruppe 4">
            <a:extLst>
              <a:ext uri="{FF2B5EF4-FFF2-40B4-BE49-F238E27FC236}">
                <a16:creationId xmlns:a16="http://schemas.microsoft.com/office/drawing/2014/main" id="{E0656C0E-A96E-15F4-B49F-61A94CA027BE}"/>
              </a:ext>
            </a:extLst>
          </p:cNvPr>
          <p:cNvGrpSpPr/>
          <p:nvPr/>
        </p:nvGrpSpPr>
        <p:grpSpPr>
          <a:xfrm>
            <a:off x="431797" y="2324556"/>
            <a:ext cx="4086228" cy="3816724"/>
            <a:chOff x="443341" y="2525988"/>
            <a:chExt cx="4292746" cy="3816724"/>
          </a:xfrm>
        </p:grpSpPr>
        <mc:AlternateContent xmlns:mc="http://schemas.openxmlformats.org/markup-compatibility/2006">
          <mc:Choice xmlns:cx6="http://schemas.microsoft.com/office/drawing/2016/5/12/chartex" Requires="cx6">
            <p:graphicFrame>
              <p:nvGraphicFramePr>
                <p:cNvPr id="9" name="Chart 8">
                  <a:extLst>
                    <a:ext uri="{FF2B5EF4-FFF2-40B4-BE49-F238E27FC236}">
                      <a16:creationId xmlns:a16="http://schemas.microsoft.com/office/drawing/2014/main" id="{1EE58F1D-DE45-DF88-1CEC-D84E915EDC7A}"/>
                    </a:ext>
                  </a:extLst>
                </p:cNvPr>
                <p:cNvGraphicFramePr/>
                <p:nvPr>
                  <p:extLst>
                    <p:ext uri="{D42A27DB-BD31-4B8C-83A1-F6EECF244321}">
                      <p14:modId xmlns:p14="http://schemas.microsoft.com/office/powerpoint/2010/main" val="3528055619"/>
                    </p:ext>
                  </p:extLst>
                </p:nvPr>
              </p:nvGraphicFramePr>
              <p:xfrm>
                <a:off x="443341" y="2525988"/>
                <a:ext cx="4262725" cy="3730349"/>
              </p:xfrm>
              <a:graphic>
                <a:graphicData uri="http://schemas.microsoft.com/office/drawing/2014/chartex">
                  <cx:chart xmlns:cx="http://schemas.microsoft.com/office/drawing/2014/chartex" xmlns:r="http://schemas.openxmlformats.org/officeDocument/2006/relationships" r:id="rId35"/>
                </a:graphicData>
              </a:graphic>
            </p:graphicFrame>
          </mc:Choice>
          <mc:Fallback>
            <p:pic>
              <p:nvPicPr>
                <p:cNvPr id="9" name="Chart 8">
                  <a:extLst>
                    <a:ext uri="{FF2B5EF4-FFF2-40B4-BE49-F238E27FC236}">
                      <a16:creationId xmlns:a16="http://schemas.microsoft.com/office/drawing/2014/main" id="{1EE58F1D-DE45-DF88-1CEC-D84E915EDC7A}"/>
                    </a:ext>
                  </a:extLst>
                </p:cNvPr>
                <p:cNvPicPr>
                  <a:picLocks noGrp="1" noRot="1" noChangeAspect="1" noMove="1" noResize="1" noEditPoints="1" noAdjustHandles="1" noChangeArrowheads="1" noChangeShapeType="1"/>
                </p:cNvPicPr>
                <p:nvPr/>
              </p:nvPicPr>
              <p:blipFill>
                <a:blip r:embed="rId36"/>
                <a:stretch>
                  <a:fillRect/>
                </a:stretch>
              </p:blipFill>
              <p:spPr>
                <a:xfrm>
                  <a:off x="431797" y="2324556"/>
                  <a:ext cx="4057651" cy="3730349"/>
                </a:xfrm>
                <a:prstGeom prst="rect">
                  <a:avLst/>
                </a:prstGeom>
              </p:spPr>
            </p:pic>
          </mc:Fallback>
        </mc:AlternateContent>
        <p:sp>
          <p:nvSpPr>
            <p:cNvPr id="10" name="Rectangle 9">
              <a:extLst>
                <a:ext uri="{FF2B5EF4-FFF2-40B4-BE49-F238E27FC236}">
                  <a16:creationId xmlns:a16="http://schemas.microsoft.com/office/drawing/2014/main" id="{04C15C87-6EDC-2DA3-686D-612545C60F91}"/>
                </a:ext>
              </a:extLst>
            </p:cNvPr>
            <p:cNvSpPr/>
            <p:nvPr/>
          </p:nvSpPr>
          <p:spPr>
            <a:xfrm>
              <a:off x="3243056" y="4271059"/>
              <a:ext cx="592542" cy="4174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da-DK" sz="1000" b="1" noProof="0">
                  <a:solidFill>
                    <a:schemeClr val="tx1"/>
                  </a:solidFill>
                </a:rPr>
                <a:t>#15.143</a:t>
              </a:r>
            </a:p>
            <a:p>
              <a:r>
                <a:rPr lang="da-DK" sz="1000" noProof="0">
                  <a:solidFill>
                    <a:schemeClr val="tx1"/>
                  </a:solidFill>
                </a:rPr>
                <a:t>(42%)</a:t>
              </a:r>
            </a:p>
          </p:txBody>
        </p:sp>
        <p:sp>
          <p:nvSpPr>
            <p:cNvPr id="11" name="Rectangle 10">
              <a:extLst>
                <a:ext uri="{FF2B5EF4-FFF2-40B4-BE49-F238E27FC236}">
                  <a16:creationId xmlns:a16="http://schemas.microsoft.com/office/drawing/2014/main" id="{9FB95131-733D-404E-D914-0932AFB1C4AB}"/>
                </a:ext>
              </a:extLst>
            </p:cNvPr>
            <p:cNvSpPr/>
            <p:nvPr/>
          </p:nvSpPr>
          <p:spPr>
            <a:xfrm>
              <a:off x="1056550" y="4894975"/>
              <a:ext cx="465138" cy="405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b="1" noProof="0">
                  <a:solidFill>
                    <a:schemeClr val="tx1"/>
                  </a:solidFill>
                </a:rPr>
                <a:t>#6.231</a:t>
              </a:r>
            </a:p>
            <a:p>
              <a:pPr algn="ctr"/>
              <a:r>
                <a:rPr lang="da-DK" sz="1000" noProof="0">
                  <a:solidFill>
                    <a:schemeClr val="tx1"/>
                  </a:solidFill>
                </a:rPr>
                <a:t>(17%)</a:t>
              </a:r>
            </a:p>
          </p:txBody>
        </p:sp>
        <p:sp>
          <p:nvSpPr>
            <p:cNvPr id="12" name="Rectangle 11">
              <a:extLst>
                <a:ext uri="{FF2B5EF4-FFF2-40B4-BE49-F238E27FC236}">
                  <a16:creationId xmlns:a16="http://schemas.microsoft.com/office/drawing/2014/main" id="{BF0777B6-0B18-4F57-B210-59C11C8CB4E8}"/>
                </a:ext>
              </a:extLst>
            </p:cNvPr>
            <p:cNvSpPr/>
            <p:nvPr/>
          </p:nvSpPr>
          <p:spPr>
            <a:xfrm>
              <a:off x="2677354" y="4960121"/>
              <a:ext cx="465138" cy="405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b="1" noProof="0">
                  <a:solidFill>
                    <a:schemeClr val="tx1"/>
                  </a:solidFill>
                </a:rPr>
                <a:t>#4.695</a:t>
              </a:r>
            </a:p>
            <a:p>
              <a:pPr algn="ctr"/>
              <a:r>
                <a:rPr lang="da-DK" sz="1000" noProof="0">
                  <a:solidFill>
                    <a:schemeClr val="tx1"/>
                  </a:solidFill>
                </a:rPr>
                <a:t>(13%)</a:t>
              </a:r>
            </a:p>
          </p:txBody>
        </p:sp>
        <p:sp>
          <p:nvSpPr>
            <p:cNvPr id="13" name="Rectangle 12">
              <a:extLst>
                <a:ext uri="{FF2B5EF4-FFF2-40B4-BE49-F238E27FC236}">
                  <a16:creationId xmlns:a16="http://schemas.microsoft.com/office/drawing/2014/main" id="{8F6B6E07-90CF-6781-BA69-D635F4B24E05}"/>
                </a:ext>
              </a:extLst>
            </p:cNvPr>
            <p:cNvSpPr/>
            <p:nvPr/>
          </p:nvSpPr>
          <p:spPr>
            <a:xfrm>
              <a:off x="1521688" y="3083520"/>
              <a:ext cx="465138" cy="405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b="1" noProof="0">
                  <a:solidFill>
                    <a:schemeClr val="tx1"/>
                  </a:solidFill>
                </a:rPr>
                <a:t>#2.884</a:t>
              </a:r>
            </a:p>
            <a:p>
              <a:pPr algn="ctr"/>
              <a:r>
                <a:rPr lang="da-DK" sz="1000" noProof="0">
                  <a:solidFill>
                    <a:schemeClr val="tx1"/>
                  </a:solidFill>
                </a:rPr>
                <a:t>(8%)</a:t>
              </a:r>
            </a:p>
          </p:txBody>
        </p:sp>
        <p:sp>
          <p:nvSpPr>
            <p:cNvPr id="14" name="Rectangle 13">
              <a:extLst>
                <a:ext uri="{FF2B5EF4-FFF2-40B4-BE49-F238E27FC236}">
                  <a16:creationId xmlns:a16="http://schemas.microsoft.com/office/drawing/2014/main" id="{C9F21198-B22A-2EB9-093E-396C9817595A}"/>
                </a:ext>
              </a:extLst>
            </p:cNvPr>
            <p:cNvSpPr/>
            <p:nvPr/>
          </p:nvSpPr>
          <p:spPr>
            <a:xfrm>
              <a:off x="1121278" y="4035028"/>
              <a:ext cx="465138" cy="405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b="1" noProof="0">
                  <a:solidFill>
                    <a:schemeClr val="tx1"/>
                  </a:solidFill>
                </a:rPr>
                <a:t>#7.565</a:t>
              </a:r>
            </a:p>
            <a:p>
              <a:pPr algn="ctr"/>
              <a:r>
                <a:rPr lang="da-DK" sz="1000" noProof="0">
                  <a:solidFill>
                    <a:schemeClr val="tx1"/>
                  </a:solidFill>
                </a:rPr>
                <a:t>(21%)</a:t>
              </a:r>
            </a:p>
          </p:txBody>
        </p:sp>
        <p:sp>
          <p:nvSpPr>
            <p:cNvPr id="15" name="Rectangle 14">
              <a:extLst>
                <a:ext uri="{FF2B5EF4-FFF2-40B4-BE49-F238E27FC236}">
                  <a16:creationId xmlns:a16="http://schemas.microsoft.com/office/drawing/2014/main" id="{288DB957-AAB6-7B76-101F-8FC86693AB24}"/>
                </a:ext>
              </a:extLst>
            </p:cNvPr>
            <p:cNvSpPr/>
            <p:nvPr/>
          </p:nvSpPr>
          <p:spPr>
            <a:xfrm>
              <a:off x="3514374" y="5950872"/>
              <a:ext cx="1221713" cy="391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grpSp>
      <p:graphicFrame>
        <p:nvGraphicFramePr>
          <p:cNvPr id="57" name="Chart 56">
            <a:extLst>
              <a:ext uri="{FF2B5EF4-FFF2-40B4-BE49-F238E27FC236}">
                <a16:creationId xmlns:a16="http://schemas.microsoft.com/office/drawing/2014/main" id="{DD473C0F-5797-33E9-FFBC-D8A39239D4EE}"/>
              </a:ext>
            </a:extLst>
          </p:cNvPr>
          <p:cNvGraphicFramePr/>
          <p:nvPr>
            <p:custDataLst>
              <p:tags r:id="rId2"/>
            </p:custDataLst>
            <p:extLst>
              <p:ext uri="{D42A27DB-BD31-4B8C-83A1-F6EECF244321}">
                <p14:modId xmlns:p14="http://schemas.microsoft.com/office/powerpoint/2010/main" val="2327095532"/>
              </p:ext>
            </p:extLst>
          </p:nvPr>
        </p:nvGraphicFramePr>
        <p:xfrm>
          <a:off x="4529138" y="3000375"/>
          <a:ext cx="4511675" cy="3168650"/>
        </p:xfrm>
        <a:graphic>
          <a:graphicData uri="http://schemas.openxmlformats.org/drawingml/2006/chart">
            <c:chart xmlns:c="http://schemas.openxmlformats.org/drawingml/2006/chart" xmlns:r="http://schemas.openxmlformats.org/officeDocument/2006/relationships" r:id="rId37"/>
          </a:graphicData>
        </a:graphic>
      </p:graphicFrame>
      <p:cxnSp>
        <p:nvCxnSpPr>
          <p:cNvPr id="17" name="Straight Connector 16">
            <a:extLst>
              <a:ext uri="{FF2B5EF4-FFF2-40B4-BE49-F238E27FC236}">
                <a16:creationId xmlns:a16="http://schemas.microsoft.com/office/drawing/2014/main" id="{46AA40D3-D50D-0890-5731-C33F0B5F2E2E}"/>
              </a:ext>
            </a:extLst>
          </p:cNvPr>
          <p:cNvCxnSpPr/>
          <p:nvPr>
            <p:custDataLst>
              <p:tags r:id="rId3"/>
            </p:custDataLst>
          </p:nvPr>
        </p:nvCxnSpPr>
        <p:spPr bwMode="auto">
          <a:xfrm flipV="1">
            <a:off x="5014913" y="2795588"/>
            <a:ext cx="0" cy="584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0B74D51-A32E-128F-8CFD-00E00186EC40}"/>
              </a:ext>
            </a:extLst>
          </p:cNvPr>
          <p:cNvCxnSpPr>
            <a:cxnSpLocks/>
          </p:cNvCxnSpPr>
          <p:nvPr>
            <p:custDataLst>
              <p:tags r:id="rId4"/>
            </p:custDataLst>
          </p:nvPr>
        </p:nvCxnSpPr>
        <p:spPr bwMode="auto">
          <a:xfrm>
            <a:off x="5014914" y="2795588"/>
            <a:ext cx="290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9FD34EE-2B7D-A5B0-C186-A9200F58AD35}"/>
              </a:ext>
            </a:extLst>
          </p:cNvPr>
          <p:cNvCxnSpPr/>
          <p:nvPr>
            <p:custDataLst>
              <p:tags r:id="rId5"/>
            </p:custDataLst>
          </p:nvPr>
        </p:nvCxnSpPr>
        <p:spPr bwMode="auto">
          <a:xfrm>
            <a:off x="5305425" y="2795588"/>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B575E5BC-6CCD-E3C5-AD4B-F70BCFFEE09D}"/>
              </a:ext>
            </a:extLst>
          </p:cNvPr>
          <p:cNvCxnSpPr/>
          <p:nvPr>
            <p:custDataLst>
              <p:tags r:id="rId6"/>
            </p:custDataLst>
          </p:nvPr>
        </p:nvCxnSpPr>
        <p:spPr bwMode="auto">
          <a:xfrm flipV="1">
            <a:off x="5827713" y="4324350"/>
            <a:ext cx="0" cy="3683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56B6373-C641-35C2-E196-65F558E456E3}"/>
              </a:ext>
            </a:extLst>
          </p:cNvPr>
          <p:cNvCxnSpPr/>
          <p:nvPr>
            <p:custDataLst>
              <p:tags r:id="rId7"/>
            </p:custDataLst>
          </p:nvPr>
        </p:nvCxnSpPr>
        <p:spPr bwMode="auto">
          <a:xfrm>
            <a:off x="5827714" y="4324350"/>
            <a:ext cx="290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5B13B87-A326-3BA9-4A10-61F3D5ED261C}"/>
              </a:ext>
            </a:extLst>
          </p:cNvPr>
          <p:cNvCxnSpPr/>
          <p:nvPr>
            <p:custDataLst>
              <p:tags r:id="rId8"/>
            </p:custDataLst>
          </p:nvPr>
        </p:nvCxnSpPr>
        <p:spPr bwMode="auto">
          <a:xfrm>
            <a:off x="6118225" y="4324350"/>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0902D37-21FD-9639-04D8-C11336B1FAD2}"/>
              </a:ext>
            </a:extLst>
          </p:cNvPr>
          <p:cNvCxnSpPr/>
          <p:nvPr>
            <p:custDataLst>
              <p:tags r:id="rId9"/>
            </p:custDataLst>
          </p:nvPr>
        </p:nvCxnSpPr>
        <p:spPr bwMode="auto">
          <a:xfrm flipV="1">
            <a:off x="6638925" y="5237163"/>
            <a:ext cx="0" cy="2873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EFB0FCD-95D5-C33E-B093-B0B06F798A9F}"/>
              </a:ext>
            </a:extLst>
          </p:cNvPr>
          <p:cNvCxnSpPr/>
          <p:nvPr>
            <p:custDataLst>
              <p:tags r:id="rId10"/>
            </p:custDataLst>
          </p:nvPr>
        </p:nvCxnSpPr>
        <p:spPr bwMode="auto">
          <a:xfrm>
            <a:off x="6638926" y="5237163"/>
            <a:ext cx="290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850C88AA-1AB1-CB22-A315-1B9C19E44FF8}"/>
              </a:ext>
            </a:extLst>
          </p:cNvPr>
          <p:cNvCxnSpPr/>
          <p:nvPr>
            <p:custDataLst>
              <p:tags r:id="rId11"/>
            </p:custDataLst>
          </p:nvPr>
        </p:nvCxnSpPr>
        <p:spPr bwMode="auto">
          <a:xfrm>
            <a:off x="6929438" y="5237163"/>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53A2ABE-50CC-6CC0-D1BD-05D8D8D54FB2}"/>
              </a:ext>
            </a:extLst>
          </p:cNvPr>
          <p:cNvCxnSpPr/>
          <p:nvPr>
            <p:custDataLst>
              <p:tags r:id="rId12"/>
            </p:custDataLst>
          </p:nvPr>
        </p:nvCxnSpPr>
        <p:spPr bwMode="auto">
          <a:xfrm flipV="1">
            <a:off x="7451725" y="4884739"/>
            <a:ext cx="0" cy="3032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E70568D-9DDC-1E3F-A659-DDE244DAA204}"/>
              </a:ext>
            </a:extLst>
          </p:cNvPr>
          <p:cNvCxnSpPr/>
          <p:nvPr>
            <p:custDataLst>
              <p:tags r:id="rId13"/>
            </p:custDataLst>
          </p:nvPr>
        </p:nvCxnSpPr>
        <p:spPr bwMode="auto">
          <a:xfrm>
            <a:off x="7451726" y="4884738"/>
            <a:ext cx="290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825991A-EB4D-4CEE-022A-140B3AAF935A}"/>
              </a:ext>
            </a:extLst>
          </p:cNvPr>
          <p:cNvCxnSpPr/>
          <p:nvPr>
            <p:custDataLst>
              <p:tags r:id="rId14"/>
            </p:custDataLst>
          </p:nvPr>
        </p:nvCxnSpPr>
        <p:spPr bwMode="auto">
          <a:xfrm>
            <a:off x="7742238" y="4884738"/>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A3E2CFA-2761-A7C9-A06B-0BA667D98AEE}"/>
              </a:ext>
            </a:extLst>
          </p:cNvPr>
          <p:cNvCxnSpPr/>
          <p:nvPr>
            <p:custDataLst>
              <p:tags r:id="rId15"/>
            </p:custDataLst>
          </p:nvPr>
        </p:nvCxnSpPr>
        <p:spPr bwMode="auto">
          <a:xfrm flipV="1">
            <a:off x="8262938" y="4584700"/>
            <a:ext cx="0" cy="3111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237A0D9-091B-2218-E9F4-DD8828FABF8B}"/>
              </a:ext>
            </a:extLst>
          </p:cNvPr>
          <p:cNvCxnSpPr/>
          <p:nvPr>
            <p:custDataLst>
              <p:tags r:id="rId16"/>
            </p:custDataLst>
          </p:nvPr>
        </p:nvCxnSpPr>
        <p:spPr bwMode="auto">
          <a:xfrm>
            <a:off x="8262939" y="4584700"/>
            <a:ext cx="290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D2B8E2A-1D50-67F5-2A19-FFD7BB911B4E}"/>
              </a:ext>
            </a:extLst>
          </p:cNvPr>
          <p:cNvCxnSpPr/>
          <p:nvPr>
            <p:custDataLst>
              <p:tags r:id="rId17"/>
            </p:custDataLst>
          </p:nvPr>
        </p:nvCxnSpPr>
        <p:spPr bwMode="auto">
          <a:xfrm>
            <a:off x="8553450" y="4584700"/>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3" name="Text Placeholder 2">
            <a:extLst>
              <a:ext uri="{FF2B5EF4-FFF2-40B4-BE49-F238E27FC236}">
                <a16:creationId xmlns:a16="http://schemas.microsoft.com/office/drawing/2014/main" id="{9AE38E7C-3983-1E49-0660-A72B5E9EA9B8}"/>
              </a:ext>
            </a:extLst>
          </p:cNvPr>
          <p:cNvSpPr>
            <a:spLocks noGrp="1"/>
          </p:cNvSpPr>
          <p:nvPr>
            <p:custDataLst>
              <p:tags r:id="rId18"/>
            </p:custDataLst>
          </p:nvPr>
        </p:nvSpPr>
        <p:spPr bwMode="auto">
          <a:xfrm>
            <a:off x="4768850" y="6129338"/>
            <a:ext cx="7842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6A1D2B-7528-40AD-9675-13C7B54119A8}" type="datetime'R''''e''''''''''''gion ''''''Hov''ed''''s''''''''''ta''den'">
              <a:rPr lang="da-DK" altLang="en-US" sz="1000" smtClean="0">
                <a:latin typeface="+mn-lt"/>
              </a:rPr>
              <a:pPr marL="0" indent="0" algn="ctr">
                <a:spcBef>
                  <a:spcPct val="0"/>
                </a:spcBef>
                <a:spcAft>
                  <a:spcPct val="0"/>
                </a:spcAft>
                <a:buNone/>
              </a:pPr>
              <a:t>Region Hovedstaden</a:t>
            </a:fld>
            <a:endParaRPr lang="da-DK" sz="1000" noProof="0">
              <a:latin typeface="+mn-lt"/>
            </a:endParaRPr>
          </a:p>
        </p:txBody>
      </p:sp>
      <p:sp>
        <p:nvSpPr>
          <p:cNvPr id="36" name="Text Placeholder 2">
            <a:extLst>
              <a:ext uri="{FF2B5EF4-FFF2-40B4-BE49-F238E27FC236}">
                <a16:creationId xmlns:a16="http://schemas.microsoft.com/office/drawing/2014/main" id="{E4B8E340-6B35-434E-0217-2202EE7F61DB}"/>
              </a:ext>
            </a:extLst>
          </p:cNvPr>
          <p:cNvSpPr>
            <a:spLocks noGrp="1"/>
          </p:cNvSpPr>
          <p:nvPr>
            <p:custDataLst>
              <p:tags r:id="rId19"/>
            </p:custDataLst>
          </p:nvPr>
        </p:nvSpPr>
        <p:spPr bwMode="auto">
          <a:xfrm>
            <a:off x="5651500" y="6129338"/>
            <a:ext cx="6413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7003B4-15D3-4ECD-9752-A80A6AF807FD}" type="datetime'''''R''e''g''''i''o''''n'''' Mi''d''tj''yl''''l''''''an''d'''">
              <a:rPr lang="da-DK" altLang="en-US" sz="1000" smtClean="0">
                <a:latin typeface="+mn-lt"/>
              </a:rPr>
              <a:pPr marL="0" indent="0" algn="ctr">
                <a:spcBef>
                  <a:spcPct val="0"/>
                </a:spcBef>
                <a:spcAft>
                  <a:spcPct val="0"/>
                </a:spcAft>
                <a:buNone/>
              </a:pPr>
              <a:t>Region Midtjylland</a:t>
            </a:fld>
            <a:endParaRPr lang="da-DK" sz="1000" noProof="0">
              <a:latin typeface="+mn-lt"/>
            </a:endParaRPr>
          </a:p>
        </p:txBody>
      </p:sp>
      <p:sp>
        <p:nvSpPr>
          <p:cNvPr id="39" name="Text Placeholder 2">
            <a:extLst>
              <a:ext uri="{FF2B5EF4-FFF2-40B4-BE49-F238E27FC236}">
                <a16:creationId xmlns:a16="http://schemas.microsoft.com/office/drawing/2014/main" id="{E9219027-316D-EDBD-7D98-E541BC980438}"/>
              </a:ext>
            </a:extLst>
          </p:cNvPr>
          <p:cNvSpPr>
            <a:spLocks noGrp="1"/>
          </p:cNvSpPr>
          <p:nvPr>
            <p:custDataLst>
              <p:tags r:id="rId20"/>
            </p:custDataLst>
          </p:nvPr>
        </p:nvSpPr>
        <p:spPr bwMode="auto">
          <a:xfrm>
            <a:off x="6446838" y="6129338"/>
            <a:ext cx="6778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3CB05E-078F-40E1-AC54-B4282EC7AFF6}" type="datetime'''R''''egi''o''n'' N''''o''rd''''jy''l''''l''a''''''n''''d'">
              <a:rPr lang="da-DK" altLang="en-US" sz="1000" smtClean="0">
                <a:latin typeface="+mn-lt"/>
              </a:rPr>
              <a:pPr marL="0" indent="0" algn="ctr">
                <a:spcBef>
                  <a:spcPct val="0"/>
                </a:spcBef>
                <a:spcAft>
                  <a:spcPct val="0"/>
                </a:spcAft>
                <a:buNone/>
              </a:pPr>
              <a:t>Region Nordjylland</a:t>
            </a:fld>
            <a:endParaRPr lang="da-DK" sz="1000" noProof="0">
              <a:latin typeface="+mn-lt"/>
            </a:endParaRPr>
          </a:p>
        </p:txBody>
      </p:sp>
      <p:sp>
        <p:nvSpPr>
          <p:cNvPr id="42" name="Text Placeholder 2">
            <a:extLst>
              <a:ext uri="{FF2B5EF4-FFF2-40B4-BE49-F238E27FC236}">
                <a16:creationId xmlns:a16="http://schemas.microsoft.com/office/drawing/2014/main" id="{241A5132-78EC-D0E1-CC8E-D617B5FE855C}"/>
              </a:ext>
            </a:extLst>
          </p:cNvPr>
          <p:cNvSpPr>
            <a:spLocks noGrp="1"/>
          </p:cNvSpPr>
          <p:nvPr>
            <p:custDataLst>
              <p:tags r:id="rId21"/>
            </p:custDataLst>
          </p:nvPr>
        </p:nvSpPr>
        <p:spPr bwMode="auto">
          <a:xfrm>
            <a:off x="7346950" y="6129338"/>
            <a:ext cx="4984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16241F-5163-4B08-ABD8-318257788153}" type="datetime'''''R''''egion'''' ''''''''S''''''jæ''lla''''n''''''''d'''''''">
              <a:rPr lang="da-DK" altLang="en-US" sz="1000" smtClean="0">
                <a:latin typeface="+mn-lt"/>
              </a:rPr>
              <a:pPr marL="0" indent="0" algn="ctr">
                <a:spcBef>
                  <a:spcPct val="0"/>
                </a:spcBef>
                <a:spcAft>
                  <a:spcPct val="0"/>
                </a:spcAft>
                <a:buNone/>
              </a:pPr>
              <a:t>Region Sjælland</a:t>
            </a:fld>
            <a:endParaRPr lang="da-DK" sz="1000" noProof="0">
              <a:latin typeface="+mn-lt"/>
            </a:endParaRPr>
          </a:p>
        </p:txBody>
      </p:sp>
      <p:sp>
        <p:nvSpPr>
          <p:cNvPr id="45" name="Text Placeholder 2">
            <a:extLst>
              <a:ext uri="{FF2B5EF4-FFF2-40B4-BE49-F238E27FC236}">
                <a16:creationId xmlns:a16="http://schemas.microsoft.com/office/drawing/2014/main" id="{506145EC-241D-C3E5-40EA-C0E46B5A3724}"/>
              </a:ext>
            </a:extLst>
          </p:cNvPr>
          <p:cNvSpPr>
            <a:spLocks noGrp="1"/>
          </p:cNvSpPr>
          <p:nvPr>
            <p:custDataLst>
              <p:tags r:id="rId22"/>
            </p:custDataLst>
          </p:nvPr>
        </p:nvSpPr>
        <p:spPr bwMode="auto">
          <a:xfrm>
            <a:off x="8040688" y="6129338"/>
            <a:ext cx="73818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E56D12-9D56-4115-B6FF-4357E96B7518}" type="datetime'''R''''''''''e''''gi''on'' ''''Syd''''danm''''''ark'''''">
              <a:rPr lang="da-DK" altLang="en-US" sz="1000" smtClean="0">
                <a:latin typeface="+mn-lt"/>
              </a:rPr>
              <a:pPr marL="0" indent="0" algn="ctr">
                <a:spcBef>
                  <a:spcPct val="0"/>
                </a:spcBef>
                <a:spcAft>
                  <a:spcPct val="0"/>
                </a:spcAft>
                <a:buNone/>
              </a:pPr>
              <a:t>Region Syddanmark</a:t>
            </a:fld>
            <a:endParaRPr lang="da-DK" sz="1000" noProof="0">
              <a:latin typeface="+mn-lt"/>
            </a:endParaRPr>
          </a:p>
        </p:txBody>
      </p:sp>
      <p:sp>
        <p:nvSpPr>
          <p:cNvPr id="47" name="Text Placeholder 2">
            <a:extLst>
              <a:ext uri="{FF2B5EF4-FFF2-40B4-BE49-F238E27FC236}">
                <a16:creationId xmlns:a16="http://schemas.microsoft.com/office/drawing/2014/main" id="{5A9A4476-DE65-24CE-14EE-87FE77D6253F}"/>
              </a:ext>
            </a:extLst>
          </p:cNvPr>
          <p:cNvSpPr>
            <a:spLocks noGrp="1"/>
          </p:cNvSpPr>
          <p:nvPr>
            <p:custDataLst>
              <p:tags r:id="rId23"/>
            </p:custDataLst>
          </p:nvPr>
        </p:nvSpPr>
        <p:spPr bwMode="auto">
          <a:xfrm>
            <a:off x="4851400" y="2698750"/>
            <a:ext cx="61595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0CD075-9AFD-4535-ACD7-B41DFB3E93B1}" type="datetime'''+''''''''''''''''''''1''''2'''''',''''5''''%'''''''''''''''">
              <a:rPr lang="da-DK" altLang="en-US" sz="1000" smtClean="0">
                <a:effectLst/>
                <a:latin typeface="+mn-lt"/>
              </a:rPr>
              <a:pPr marL="0" indent="0" algn="ctr">
                <a:spcBef>
                  <a:spcPct val="0"/>
                </a:spcBef>
                <a:spcAft>
                  <a:spcPct val="0"/>
                </a:spcAft>
                <a:buNone/>
              </a:pPr>
              <a:t>+12,5%</a:t>
            </a:fld>
            <a:endParaRPr lang="da-DK" sz="1000" noProof="0">
              <a:latin typeface="+mn-lt"/>
            </a:endParaRPr>
          </a:p>
        </p:txBody>
      </p:sp>
      <p:sp>
        <p:nvSpPr>
          <p:cNvPr id="48" name="Text Placeholder 2">
            <a:extLst>
              <a:ext uri="{FF2B5EF4-FFF2-40B4-BE49-F238E27FC236}">
                <a16:creationId xmlns:a16="http://schemas.microsoft.com/office/drawing/2014/main" id="{A40CA4B3-EC10-F586-C18C-9F4C4F64E301}"/>
              </a:ext>
            </a:extLst>
          </p:cNvPr>
          <p:cNvSpPr>
            <a:spLocks noGrp="1"/>
          </p:cNvSpPr>
          <p:nvPr>
            <p:custDataLst>
              <p:tags r:id="rId24"/>
            </p:custDataLst>
          </p:nvPr>
        </p:nvSpPr>
        <p:spPr bwMode="auto">
          <a:xfrm>
            <a:off x="5718175" y="4227513"/>
            <a:ext cx="50800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B73FE94-DFC7-4B9B-8669-407068536F15}" type="datetime'''''''''''''''''+''''''''''''''''''''8'''''''''''',8''%'">
              <a:rPr lang="da-DK" altLang="en-US" sz="1000" smtClean="0">
                <a:effectLst/>
                <a:latin typeface="+mn-lt"/>
              </a:rPr>
              <a:pPr marL="0" indent="0" algn="ctr">
                <a:spcBef>
                  <a:spcPct val="0"/>
                </a:spcBef>
                <a:spcAft>
                  <a:spcPct val="0"/>
                </a:spcAft>
                <a:buNone/>
              </a:pPr>
              <a:t>+8,8%</a:t>
            </a:fld>
            <a:endParaRPr lang="da-DK" sz="1000" noProof="0">
              <a:latin typeface="+mn-lt"/>
            </a:endParaRPr>
          </a:p>
        </p:txBody>
      </p:sp>
      <p:sp>
        <p:nvSpPr>
          <p:cNvPr id="49" name="Text Placeholder 2">
            <a:extLst>
              <a:ext uri="{FF2B5EF4-FFF2-40B4-BE49-F238E27FC236}">
                <a16:creationId xmlns:a16="http://schemas.microsoft.com/office/drawing/2014/main" id="{23964297-06E2-59B8-7F2B-0C2614456613}"/>
              </a:ext>
            </a:extLst>
          </p:cNvPr>
          <p:cNvSpPr>
            <a:spLocks noGrp="1"/>
          </p:cNvSpPr>
          <p:nvPr>
            <p:custDataLst>
              <p:tags r:id="rId25"/>
            </p:custDataLst>
          </p:nvPr>
        </p:nvSpPr>
        <p:spPr bwMode="auto">
          <a:xfrm>
            <a:off x="6529388" y="5140325"/>
            <a:ext cx="50800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A71B1E-E8F6-453B-8F13-0D2E191DB3F5}" type="datetime'+7'''''',3''''''''''''''''''''''''''''''''''%'">
              <a:rPr lang="da-DK" altLang="en-US" sz="1000" smtClean="0">
                <a:effectLst/>
                <a:latin typeface="+mn-lt"/>
              </a:rPr>
              <a:pPr marL="0" indent="0" algn="ctr">
                <a:spcBef>
                  <a:spcPct val="0"/>
                </a:spcBef>
                <a:spcAft>
                  <a:spcPct val="0"/>
                </a:spcAft>
                <a:buNone/>
              </a:pPr>
              <a:t>+7,3%</a:t>
            </a:fld>
            <a:endParaRPr lang="da-DK" sz="1000" noProof="0">
              <a:latin typeface="+mn-lt"/>
            </a:endParaRPr>
          </a:p>
        </p:txBody>
      </p:sp>
      <p:sp>
        <p:nvSpPr>
          <p:cNvPr id="50" name="Text Placeholder 2">
            <a:extLst>
              <a:ext uri="{FF2B5EF4-FFF2-40B4-BE49-F238E27FC236}">
                <a16:creationId xmlns:a16="http://schemas.microsoft.com/office/drawing/2014/main" id="{C8259CA3-415A-2873-A658-1EC8871F0190}"/>
              </a:ext>
            </a:extLst>
          </p:cNvPr>
          <p:cNvSpPr>
            <a:spLocks noGrp="1"/>
          </p:cNvSpPr>
          <p:nvPr>
            <p:custDataLst>
              <p:tags r:id="rId26"/>
            </p:custDataLst>
          </p:nvPr>
        </p:nvSpPr>
        <p:spPr bwMode="auto">
          <a:xfrm>
            <a:off x="7342188" y="4787900"/>
            <a:ext cx="50800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FC4344-949D-4FD0-800A-4F9FBCB0B4BA}" type="datetime'+''''6'''''''''',''4''''''''''''''''%'''''''''''">
              <a:rPr lang="da-DK" altLang="en-US" sz="1000" smtClean="0">
                <a:effectLst/>
                <a:latin typeface="+mn-lt"/>
              </a:rPr>
              <a:pPr marL="0" indent="0" algn="ctr">
                <a:spcBef>
                  <a:spcPct val="0"/>
                </a:spcBef>
                <a:spcAft>
                  <a:spcPct val="0"/>
                </a:spcAft>
                <a:buNone/>
              </a:pPr>
              <a:t>+6,4%</a:t>
            </a:fld>
            <a:endParaRPr lang="da-DK" sz="1000" noProof="0">
              <a:latin typeface="+mn-lt"/>
            </a:endParaRPr>
          </a:p>
        </p:txBody>
      </p:sp>
      <p:sp>
        <p:nvSpPr>
          <p:cNvPr id="51" name="Text Placeholder 2">
            <a:extLst>
              <a:ext uri="{FF2B5EF4-FFF2-40B4-BE49-F238E27FC236}">
                <a16:creationId xmlns:a16="http://schemas.microsoft.com/office/drawing/2014/main" id="{DDE98654-987D-81E7-3413-7DD65EB83A77}"/>
              </a:ext>
            </a:extLst>
          </p:cNvPr>
          <p:cNvSpPr>
            <a:spLocks noGrp="1"/>
          </p:cNvSpPr>
          <p:nvPr>
            <p:custDataLst>
              <p:tags r:id="rId27"/>
            </p:custDataLst>
          </p:nvPr>
        </p:nvSpPr>
        <p:spPr bwMode="auto">
          <a:xfrm>
            <a:off x="8153400" y="4487863"/>
            <a:ext cx="508000"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F131EF-A546-4544-99CE-C7198A5F58A2}" type="datetime'''''''''+5'''''''''''',''''''''''''3''''''''''''%'''''''''''''">
              <a:rPr lang="da-DK" altLang="en-US" sz="1000" smtClean="0">
                <a:effectLst/>
                <a:latin typeface="+mn-lt"/>
              </a:rPr>
              <a:pPr marL="0" indent="0" algn="ctr">
                <a:spcBef>
                  <a:spcPct val="0"/>
                </a:spcBef>
                <a:spcAft>
                  <a:spcPct val="0"/>
                </a:spcAft>
                <a:buNone/>
              </a:pPr>
              <a:t>+5,3%</a:t>
            </a:fld>
            <a:endParaRPr lang="da-DK" sz="1000" noProof="0">
              <a:latin typeface="+mn-lt"/>
            </a:endParaRPr>
          </a:p>
        </p:txBody>
      </p:sp>
      <p:sp>
        <p:nvSpPr>
          <p:cNvPr id="52" name="Rectangle 51">
            <a:extLst>
              <a:ext uri="{FF2B5EF4-FFF2-40B4-BE49-F238E27FC236}">
                <a16:creationId xmlns:a16="http://schemas.microsoft.com/office/drawing/2014/main" id="{BE94CC89-3F16-5F55-E412-6FBE3822832A}"/>
              </a:ext>
            </a:extLst>
          </p:cNvPr>
          <p:cNvSpPr/>
          <p:nvPr>
            <p:custDataLst>
              <p:tags r:id="rId28"/>
            </p:custDataLst>
          </p:nvPr>
        </p:nvSpPr>
        <p:spPr bwMode="auto">
          <a:xfrm>
            <a:off x="4805363" y="2219325"/>
            <a:ext cx="179388" cy="133350"/>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53" name="Rectangle 52">
            <a:extLst>
              <a:ext uri="{FF2B5EF4-FFF2-40B4-BE49-F238E27FC236}">
                <a16:creationId xmlns:a16="http://schemas.microsoft.com/office/drawing/2014/main" id="{3E244167-D3B4-85F7-5E14-7A7B1BAF8512}"/>
              </a:ext>
            </a:extLst>
          </p:cNvPr>
          <p:cNvSpPr/>
          <p:nvPr>
            <p:custDataLst>
              <p:tags r:id="rId29"/>
            </p:custDataLst>
          </p:nvPr>
        </p:nvSpPr>
        <p:spPr bwMode="auto">
          <a:xfrm>
            <a:off x="5441950" y="22193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54" name="Text Placeholder 2">
            <a:extLst>
              <a:ext uri="{FF2B5EF4-FFF2-40B4-BE49-F238E27FC236}">
                <a16:creationId xmlns:a16="http://schemas.microsoft.com/office/drawing/2014/main" id="{D02983BC-9AAA-5B48-EF00-C76CC457D706}"/>
              </a:ext>
            </a:extLst>
          </p:cNvPr>
          <p:cNvSpPr>
            <a:spLocks noGrp="1"/>
          </p:cNvSpPr>
          <p:nvPr>
            <p:custDataLst>
              <p:tags r:id="rId30"/>
            </p:custDataLst>
          </p:nvPr>
        </p:nvSpPr>
        <p:spPr bwMode="auto">
          <a:xfrm>
            <a:off x="5035550" y="22272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B546DA-1D0B-4BB1-ACEE-43BBF1815170}" type="datetime'''''2''0''''''''''''''''''''''2''''''4'''''''''''''''">
              <a:rPr lang="en-GB" altLang="en-US" sz="1000" smtClean="0">
                <a:latin typeface="+mn-lt"/>
              </a:rPr>
              <a:pPr marL="0" indent="0" algn="r">
                <a:spcBef>
                  <a:spcPct val="0"/>
                </a:spcBef>
                <a:spcAft>
                  <a:spcPct val="0"/>
                </a:spcAft>
                <a:buNone/>
              </a:pPr>
              <a:t>2024</a:t>
            </a:fld>
            <a:endParaRPr lang="da-DK" sz="1000" noProof="0">
              <a:latin typeface="+mn-lt"/>
            </a:endParaRPr>
          </a:p>
        </p:txBody>
      </p:sp>
      <p:sp>
        <p:nvSpPr>
          <p:cNvPr id="55" name="Text Placeholder 2">
            <a:extLst>
              <a:ext uri="{FF2B5EF4-FFF2-40B4-BE49-F238E27FC236}">
                <a16:creationId xmlns:a16="http://schemas.microsoft.com/office/drawing/2014/main" id="{6B6D7D26-8B73-FC86-B9D3-753E9CFA0F93}"/>
              </a:ext>
            </a:extLst>
          </p:cNvPr>
          <p:cNvSpPr>
            <a:spLocks noGrp="1"/>
          </p:cNvSpPr>
          <p:nvPr>
            <p:custDataLst>
              <p:tags r:id="rId31"/>
            </p:custDataLst>
          </p:nvPr>
        </p:nvSpPr>
        <p:spPr bwMode="auto">
          <a:xfrm>
            <a:off x="5672138" y="22272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431378-84DD-4509-8FCB-605B081CEEC4}" type="datetime'''''2''''0''''''''''''25'''''''''''''''''''''''''''''">
              <a:rPr lang="en-GB" altLang="en-US" sz="1000" smtClean="0">
                <a:latin typeface="+mn-lt"/>
              </a:rPr>
              <a:pPr marL="0" indent="0" algn="r">
                <a:spcBef>
                  <a:spcPct val="0"/>
                </a:spcBef>
                <a:spcAft>
                  <a:spcPct val="0"/>
                </a:spcAft>
                <a:buNone/>
              </a:pPr>
              <a:t>2025</a:t>
            </a:fld>
            <a:endParaRPr lang="da-DK" sz="1000" noProof="0">
              <a:latin typeface="+mn-lt"/>
            </a:endParaRPr>
          </a:p>
        </p:txBody>
      </p:sp>
      <p:sp>
        <p:nvSpPr>
          <p:cNvPr id="60" name="TextBox 59">
            <a:extLst>
              <a:ext uri="{FF2B5EF4-FFF2-40B4-BE49-F238E27FC236}">
                <a16:creationId xmlns:a16="http://schemas.microsoft.com/office/drawing/2014/main" id="{51D18C56-5297-E1E2-DC1B-EDDECD2D0A15}"/>
              </a:ext>
            </a:extLst>
          </p:cNvPr>
          <p:cNvSpPr txBox="1"/>
          <p:nvPr/>
        </p:nvSpPr>
        <p:spPr>
          <a:xfrm>
            <a:off x="4755354" y="1698621"/>
            <a:ext cx="3568701" cy="461665"/>
          </a:xfrm>
          <a:prstGeom prst="rect">
            <a:avLst/>
          </a:prstGeom>
          <a:noFill/>
        </p:spPr>
        <p:txBody>
          <a:bodyPr wrap="square" lIns="0" rtlCol="0">
            <a:spAutoFit/>
          </a:bodyPr>
          <a:lstStyle/>
          <a:p>
            <a:r>
              <a:rPr lang="da-DK" sz="1200" b="1" noProof="0"/>
              <a:t>Regional udvikling for nystiftede virksomheder, </a:t>
            </a:r>
            <a:r>
              <a:rPr lang="da-DK" sz="1200" noProof="0"/>
              <a:t>antal</a:t>
            </a:r>
          </a:p>
        </p:txBody>
      </p:sp>
      <p:cxnSp>
        <p:nvCxnSpPr>
          <p:cNvPr id="101" name="Straight Connector 100">
            <a:extLst>
              <a:ext uri="{FF2B5EF4-FFF2-40B4-BE49-F238E27FC236}">
                <a16:creationId xmlns:a16="http://schemas.microsoft.com/office/drawing/2014/main" id="{7B2ED5A9-6932-9250-9C16-3083423F8402}"/>
              </a:ext>
            </a:extLst>
          </p:cNvPr>
          <p:cNvCxnSpPr>
            <a:cxnSpLocks/>
          </p:cNvCxnSpPr>
          <p:nvPr/>
        </p:nvCxnSpPr>
        <p:spPr>
          <a:xfrm>
            <a:off x="4755354" y="2168525"/>
            <a:ext cx="40592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313547B-F129-ECD7-4D0C-7D1FA6CBAADC}"/>
              </a:ext>
            </a:extLst>
          </p:cNvPr>
          <p:cNvCxnSpPr>
            <a:cxnSpLocks/>
          </p:cNvCxnSpPr>
          <p:nvPr/>
        </p:nvCxnSpPr>
        <p:spPr>
          <a:xfrm flipH="1">
            <a:off x="4619481" y="2160286"/>
            <a:ext cx="0" cy="4300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CD18C7ED-F2C0-6F54-6828-570263976458}"/>
              </a:ext>
            </a:extLst>
          </p:cNvPr>
          <p:cNvSpPr txBox="1"/>
          <p:nvPr/>
        </p:nvSpPr>
        <p:spPr>
          <a:xfrm>
            <a:off x="9018588" y="1891526"/>
            <a:ext cx="808876" cy="461665"/>
          </a:xfrm>
          <a:prstGeom prst="rect">
            <a:avLst/>
          </a:prstGeom>
          <a:noFill/>
        </p:spPr>
        <p:txBody>
          <a:bodyPr wrap="none" lIns="0" rtlCol="0">
            <a:spAutoFit/>
          </a:bodyPr>
          <a:lstStyle/>
          <a:p>
            <a:r>
              <a:rPr lang="en-GB" sz="1200" b="1"/>
              <a:t>Highlights</a:t>
            </a:r>
          </a:p>
          <a:p>
            <a:endParaRPr lang="en-GB" sz="1200" b="1"/>
          </a:p>
        </p:txBody>
      </p:sp>
      <p:cxnSp>
        <p:nvCxnSpPr>
          <p:cNvPr id="116" name="Straight Connector 115">
            <a:extLst>
              <a:ext uri="{FF2B5EF4-FFF2-40B4-BE49-F238E27FC236}">
                <a16:creationId xmlns:a16="http://schemas.microsoft.com/office/drawing/2014/main" id="{72572C1C-C258-FF10-4BE2-0D2C59BAFF0B}"/>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A14643C4-A6CA-BB78-0ACB-CA381D3F44FF}"/>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Vækst på tværs af regioner: </a:t>
            </a:r>
            <a:r>
              <a:rPr lang="da-DK" sz="1000" b="0"/>
              <a:t>Stigning i antallet af nystartede virksomheder i alle regioner.</a:t>
            </a:r>
          </a:p>
          <a:p>
            <a:endParaRPr lang="da-DK" sz="1000" b="0"/>
          </a:p>
          <a:p>
            <a:r>
              <a:rPr lang="da-DK" sz="1000"/>
              <a:t>Størst fremgang i Hovedstaden: </a:t>
            </a:r>
            <a:r>
              <a:rPr lang="da-DK" sz="1000" b="0"/>
              <a:t>Region Hovedstaden tegner sig for den største andel af nystiftede virksomheder i 2025.</a:t>
            </a:r>
          </a:p>
          <a:p>
            <a:endParaRPr lang="da-DK" sz="1000" b="0"/>
          </a:p>
          <a:p>
            <a:endParaRPr lang="da-DK" sz="1000" b="0"/>
          </a:p>
          <a:p>
            <a:endParaRPr lang="da-DK" sz="1000" b="0"/>
          </a:p>
          <a:p>
            <a:endParaRPr lang="da-DK" sz="1000" b="0"/>
          </a:p>
        </p:txBody>
      </p:sp>
    </p:spTree>
    <p:extLst>
      <p:ext uri="{BB962C8B-B14F-4D97-AF65-F5344CB8AC3E}">
        <p14:creationId xmlns:p14="http://schemas.microsoft.com/office/powerpoint/2010/main" val="4098510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9BC84-2EA5-855F-7D6F-413DE35ED45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E76E6AC-CA46-19A3-12A8-0E28B8A4825F}"/>
              </a:ext>
            </a:extLst>
          </p:cNvPr>
          <p:cNvGraphicFramePr>
            <a:graphicFrameLocks noChangeAspect="1"/>
          </p:cNvGraphicFramePr>
          <p:nvPr>
            <p:custDataLst>
              <p:tags r:id="rId1"/>
            </p:custDataLst>
            <p:extLst>
              <p:ext uri="{D42A27DB-BD31-4B8C-83A1-F6EECF244321}">
                <p14:modId xmlns:p14="http://schemas.microsoft.com/office/powerpoint/2010/main" val="217252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11" name="think-cell data - do not delete" hidden="1">
                        <a:extLst>
                          <a:ext uri="{FF2B5EF4-FFF2-40B4-BE49-F238E27FC236}">
                            <a16:creationId xmlns:a16="http://schemas.microsoft.com/office/drawing/2014/main" id="{6E76E6AC-CA46-19A3-12A8-0E28B8A4825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1" name="Rectangle 100">
            <a:extLst>
              <a:ext uri="{FF2B5EF4-FFF2-40B4-BE49-F238E27FC236}">
                <a16:creationId xmlns:a16="http://schemas.microsoft.com/office/drawing/2014/main" id="{FD0A5E82-C1A7-05E8-E597-2B7787A1E6E5}"/>
              </a:ext>
            </a:extLst>
          </p:cNvPr>
          <p:cNvSpPr/>
          <p:nvPr/>
        </p:nvSpPr>
        <p:spPr>
          <a:xfrm>
            <a:off x="4357051" y="2601952"/>
            <a:ext cx="1262022" cy="385268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0ACCE9A-9E67-5ECD-8BE2-058307212B1D}"/>
              </a:ext>
            </a:extLst>
          </p:cNvPr>
          <p:cNvSpPr>
            <a:spLocks noGrp="1"/>
          </p:cNvSpPr>
          <p:nvPr>
            <p:ph type="title"/>
          </p:nvPr>
        </p:nvSpPr>
        <p:spPr/>
        <p:txBody>
          <a:bodyPr vert="horz"/>
          <a:lstStyle/>
          <a:p>
            <a:r>
              <a:rPr lang="da-DK" sz="2800" noProof="0"/>
              <a:t>Størst koncentration af nystartede virksomheder i Hovedstaden</a:t>
            </a:r>
          </a:p>
        </p:txBody>
      </p:sp>
      <p:sp>
        <p:nvSpPr>
          <p:cNvPr id="3" name="Text Placeholder 2">
            <a:extLst>
              <a:ext uri="{FF2B5EF4-FFF2-40B4-BE49-F238E27FC236}">
                <a16:creationId xmlns:a16="http://schemas.microsoft.com/office/drawing/2014/main" id="{740BB214-D4AB-CAA6-2BCF-DEB6E556D5A0}"/>
              </a:ext>
            </a:extLst>
          </p:cNvPr>
          <p:cNvSpPr>
            <a:spLocks noGrp="1"/>
          </p:cNvSpPr>
          <p:nvPr>
            <p:ph type="body" sz="quarter" idx="14"/>
          </p:nvPr>
        </p:nvSpPr>
        <p:spPr/>
        <p:txBody>
          <a:bodyPr/>
          <a:lstStyle/>
          <a:p>
            <a:r>
              <a:rPr lang="da-DK" noProof="0"/>
              <a:t>Regioner</a:t>
            </a:r>
          </a:p>
        </p:txBody>
      </p:sp>
      <p:sp>
        <p:nvSpPr>
          <p:cNvPr id="4" name="Text Placeholder 3">
            <a:extLst>
              <a:ext uri="{FF2B5EF4-FFF2-40B4-BE49-F238E27FC236}">
                <a16:creationId xmlns:a16="http://schemas.microsoft.com/office/drawing/2014/main" id="{7FAD38BC-458C-4360-D325-CE4087032A34}"/>
              </a:ext>
            </a:extLst>
          </p:cNvPr>
          <p:cNvSpPr>
            <a:spLocks noGrp="1"/>
          </p:cNvSpPr>
          <p:nvPr>
            <p:ph type="body" sz="quarter" idx="15"/>
          </p:nvPr>
        </p:nvSpPr>
        <p:spPr/>
        <p:txBody>
          <a:bodyPr/>
          <a:lstStyle/>
          <a:p>
            <a:r>
              <a:rPr lang="da-DK" noProof="0"/>
              <a:t>Note: 1) Indbyggertallet er opgjort pr. 1. januar i det pågældende år og er hentet fra Danmarks Statistik. </a:t>
            </a:r>
          </a:p>
          <a:p>
            <a:endParaRPr lang="da-DK" noProof="0"/>
          </a:p>
        </p:txBody>
      </p:sp>
      <p:sp>
        <p:nvSpPr>
          <p:cNvPr id="17" name="Text Placeholder 4">
            <a:extLst>
              <a:ext uri="{FF2B5EF4-FFF2-40B4-BE49-F238E27FC236}">
                <a16:creationId xmlns:a16="http://schemas.microsoft.com/office/drawing/2014/main" id="{808C157B-21DD-3DEF-A64A-491536543503}"/>
              </a:ext>
            </a:extLst>
          </p:cNvPr>
          <p:cNvSpPr>
            <a:spLocks noGrp="1"/>
          </p:cNvSpPr>
          <p:nvPr>
            <p:ph type="body" sz="quarter" idx="16"/>
          </p:nvPr>
        </p:nvSpPr>
        <p:spPr/>
        <p:txBody>
          <a:bodyPr/>
          <a:lstStyle/>
          <a:p>
            <a:r>
              <a:rPr lang="da-DK" noProof="0"/>
              <a:t>Kilde: </a:t>
            </a:r>
            <a:r>
              <a:rPr lang="da-DK" noProof="0" err="1"/>
              <a:t>LassoX</a:t>
            </a:r>
            <a:r>
              <a:rPr lang="da-DK" noProof="0"/>
              <a:t> – hentet februar 2025</a:t>
            </a:r>
          </a:p>
          <a:p>
            <a:endParaRPr lang="da-DK" noProof="0"/>
          </a:p>
        </p:txBody>
      </p:sp>
      <p:cxnSp>
        <p:nvCxnSpPr>
          <p:cNvPr id="6" name="Straight Connector 5">
            <a:extLst>
              <a:ext uri="{FF2B5EF4-FFF2-40B4-BE49-F238E27FC236}">
                <a16:creationId xmlns:a16="http://schemas.microsoft.com/office/drawing/2014/main" id="{2BD10315-0AA1-8AF4-D65F-217AAE72AD9A}"/>
              </a:ext>
            </a:extLst>
          </p:cNvPr>
          <p:cNvCxnSpPr>
            <a:cxnSpLocks/>
          </p:cNvCxnSpPr>
          <p:nvPr/>
        </p:nvCxnSpPr>
        <p:spPr>
          <a:xfrm flipV="1">
            <a:off x="431798" y="2168524"/>
            <a:ext cx="8364540"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BE6AA90-229C-5FA2-4694-7B36BE4AD84F}"/>
              </a:ext>
            </a:extLst>
          </p:cNvPr>
          <p:cNvSpPr txBox="1"/>
          <p:nvPr/>
        </p:nvSpPr>
        <p:spPr>
          <a:xfrm>
            <a:off x="431798" y="1891526"/>
            <a:ext cx="4295407" cy="276999"/>
          </a:xfrm>
          <a:prstGeom prst="rect">
            <a:avLst/>
          </a:prstGeom>
          <a:noFill/>
        </p:spPr>
        <p:txBody>
          <a:bodyPr wrap="none" lIns="0" rtlCol="0">
            <a:spAutoFit/>
          </a:bodyPr>
          <a:lstStyle/>
          <a:p>
            <a:pPr algn="ctr"/>
            <a:r>
              <a:rPr lang="da-DK" sz="1200" b="1" noProof="0"/>
              <a:t>Antal nystiftede virksomheder pr. 1000 indbyggere</a:t>
            </a:r>
            <a:r>
              <a:rPr lang="da-DK" sz="1200" b="1" baseline="30000" noProof="0"/>
              <a:t>1</a:t>
            </a:r>
            <a:r>
              <a:rPr lang="da-DK" sz="1200" b="1" noProof="0"/>
              <a:t>, </a:t>
            </a:r>
            <a:r>
              <a:rPr lang="da-DK" sz="1200" noProof="0"/>
              <a:t>antal</a:t>
            </a:r>
          </a:p>
        </p:txBody>
      </p:sp>
      <p:graphicFrame>
        <p:nvGraphicFramePr>
          <p:cNvPr id="8" name="Chart 7">
            <a:extLst>
              <a:ext uri="{FF2B5EF4-FFF2-40B4-BE49-F238E27FC236}">
                <a16:creationId xmlns:a16="http://schemas.microsoft.com/office/drawing/2014/main" id="{230D87B3-CE8B-06F9-157F-E8568886451B}"/>
              </a:ext>
            </a:extLst>
          </p:cNvPr>
          <p:cNvGraphicFramePr/>
          <p:nvPr>
            <p:custDataLst>
              <p:tags r:id="rId2"/>
            </p:custDataLst>
            <p:extLst>
              <p:ext uri="{D42A27DB-BD31-4B8C-83A1-F6EECF244321}">
                <p14:modId xmlns:p14="http://schemas.microsoft.com/office/powerpoint/2010/main" val="2560704021"/>
              </p:ext>
            </p:extLst>
          </p:nvPr>
        </p:nvGraphicFramePr>
        <p:xfrm>
          <a:off x="2454275" y="4068763"/>
          <a:ext cx="3244850" cy="93186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10" name="Chart 9">
            <a:extLst>
              <a:ext uri="{FF2B5EF4-FFF2-40B4-BE49-F238E27FC236}">
                <a16:creationId xmlns:a16="http://schemas.microsoft.com/office/drawing/2014/main" id="{8DCE6BA8-4503-A2A6-A09B-8C9E1A2FA310}"/>
              </a:ext>
            </a:extLst>
          </p:cNvPr>
          <p:cNvGraphicFramePr/>
          <p:nvPr>
            <p:custDataLst>
              <p:tags r:id="rId3"/>
            </p:custDataLst>
            <p:extLst>
              <p:ext uri="{D42A27DB-BD31-4B8C-83A1-F6EECF244321}">
                <p14:modId xmlns:p14="http://schemas.microsoft.com/office/powerpoint/2010/main" val="3096559724"/>
              </p:ext>
            </p:extLst>
          </p:nvPr>
        </p:nvGraphicFramePr>
        <p:xfrm>
          <a:off x="2454275" y="5602288"/>
          <a:ext cx="3244850" cy="877887"/>
        </p:xfrm>
        <a:graphic>
          <a:graphicData uri="http://schemas.openxmlformats.org/drawingml/2006/chart">
            <c:chart xmlns:c="http://schemas.openxmlformats.org/drawingml/2006/chart" xmlns:r="http://schemas.openxmlformats.org/officeDocument/2006/relationships" r:id="rId25"/>
          </a:graphicData>
        </a:graphic>
      </p:graphicFrame>
      <p:sp>
        <p:nvSpPr>
          <p:cNvPr id="21" name="Text Placeholder 2">
            <a:extLst>
              <a:ext uri="{FF2B5EF4-FFF2-40B4-BE49-F238E27FC236}">
                <a16:creationId xmlns:a16="http://schemas.microsoft.com/office/drawing/2014/main" id="{870AE8D9-1000-0E99-10C3-4BF9F7B2CE4B}"/>
              </a:ext>
            </a:extLst>
          </p:cNvPr>
          <p:cNvSpPr>
            <a:spLocks noGrp="1"/>
          </p:cNvSpPr>
          <p:nvPr>
            <p:custDataLst>
              <p:tags r:id="rId4"/>
            </p:custDataLst>
          </p:nvPr>
        </p:nvSpPr>
        <p:spPr bwMode="auto">
          <a:xfrm>
            <a:off x="2686050" y="629761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46C322F-C1F5-4C20-9492-41FDCFD7F6C6}" type="datetime'''''''''2''0''''''''''''''''''21'''''''''">
              <a:rPr lang="da-DK" sz="1000" noProof="0" smtClean="0">
                <a:latin typeface="+mn-lt"/>
              </a:rPr>
              <a:pPr marL="0" indent="0" algn="ctr">
                <a:spcBef>
                  <a:spcPct val="0"/>
                </a:spcBef>
                <a:spcAft>
                  <a:spcPct val="0"/>
                </a:spcAft>
                <a:buNone/>
              </a:pPr>
              <a:t>2021</a:t>
            </a:fld>
            <a:endParaRPr lang="da-DK" sz="1000" noProof="0">
              <a:latin typeface="+mn-lt"/>
            </a:endParaRPr>
          </a:p>
        </p:txBody>
      </p:sp>
      <p:sp>
        <p:nvSpPr>
          <p:cNvPr id="23" name="Text Placeholder 2">
            <a:extLst>
              <a:ext uri="{FF2B5EF4-FFF2-40B4-BE49-F238E27FC236}">
                <a16:creationId xmlns:a16="http://schemas.microsoft.com/office/drawing/2014/main" id="{21C8073C-F532-A649-10DF-7A5117F0A22F}"/>
              </a:ext>
            </a:extLst>
          </p:cNvPr>
          <p:cNvSpPr>
            <a:spLocks noGrp="1"/>
          </p:cNvSpPr>
          <p:nvPr>
            <p:custDataLst>
              <p:tags r:id="rId5"/>
            </p:custDataLst>
          </p:nvPr>
        </p:nvSpPr>
        <p:spPr bwMode="auto">
          <a:xfrm>
            <a:off x="3302000" y="629761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03CEF3-3849-4D3D-B866-553FBF2B0C28}" type="datetime'''''2''''''''''''''''''''''''0''''''''''''''''''2''''''''''2'">
              <a:rPr lang="da-DK" sz="1000" noProof="0" smtClean="0">
                <a:latin typeface="+mn-lt"/>
              </a:rPr>
              <a:pPr marL="0" indent="0" algn="ctr">
                <a:spcBef>
                  <a:spcPct val="0"/>
                </a:spcBef>
                <a:spcAft>
                  <a:spcPct val="0"/>
                </a:spcAft>
                <a:buNone/>
              </a:pPr>
              <a:t>2022</a:t>
            </a:fld>
            <a:endParaRPr lang="da-DK" sz="1000" noProof="0">
              <a:latin typeface="+mn-lt"/>
            </a:endParaRPr>
          </a:p>
        </p:txBody>
      </p:sp>
      <p:sp>
        <p:nvSpPr>
          <p:cNvPr id="25" name="Text Placeholder 2">
            <a:extLst>
              <a:ext uri="{FF2B5EF4-FFF2-40B4-BE49-F238E27FC236}">
                <a16:creationId xmlns:a16="http://schemas.microsoft.com/office/drawing/2014/main" id="{42A95630-1B04-4F92-E9DB-3D43B4C65B08}"/>
              </a:ext>
            </a:extLst>
          </p:cNvPr>
          <p:cNvSpPr>
            <a:spLocks noGrp="1"/>
          </p:cNvSpPr>
          <p:nvPr>
            <p:custDataLst>
              <p:tags r:id="rId6"/>
            </p:custDataLst>
          </p:nvPr>
        </p:nvSpPr>
        <p:spPr bwMode="auto">
          <a:xfrm>
            <a:off x="3917950" y="629761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14B817-A7F2-4CC5-8E18-D9EE8B5DFCB3}" type="datetime'2''''''0''''''''''''''''23'''">
              <a:rPr lang="da-DK" sz="1000" noProof="0" smtClean="0">
                <a:latin typeface="+mn-lt"/>
              </a:rPr>
              <a:pPr marL="0" indent="0" algn="ctr">
                <a:spcBef>
                  <a:spcPct val="0"/>
                </a:spcBef>
                <a:spcAft>
                  <a:spcPct val="0"/>
                </a:spcAft>
                <a:buNone/>
              </a:pPr>
              <a:t>2023</a:t>
            </a:fld>
            <a:endParaRPr lang="da-DK" sz="1000" noProof="0">
              <a:latin typeface="+mn-lt"/>
            </a:endParaRPr>
          </a:p>
        </p:txBody>
      </p:sp>
      <p:sp>
        <p:nvSpPr>
          <p:cNvPr id="27" name="Text Placeholder 2">
            <a:extLst>
              <a:ext uri="{FF2B5EF4-FFF2-40B4-BE49-F238E27FC236}">
                <a16:creationId xmlns:a16="http://schemas.microsoft.com/office/drawing/2014/main" id="{8BE33631-790F-87F3-CD7C-66E1D1C332DC}"/>
              </a:ext>
            </a:extLst>
          </p:cNvPr>
          <p:cNvSpPr>
            <a:spLocks noGrp="1"/>
          </p:cNvSpPr>
          <p:nvPr>
            <p:custDataLst>
              <p:tags r:id="rId7"/>
            </p:custDataLst>
          </p:nvPr>
        </p:nvSpPr>
        <p:spPr bwMode="auto">
          <a:xfrm>
            <a:off x="4533900" y="629761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673699-1C15-4D6E-88D7-D8E8BC514A4F}" type="datetime'''''2''''0''''''''''''''2''''''4'''''''''''''''''''''">
              <a:rPr lang="da-DK" sz="1000" noProof="0" smtClean="0">
                <a:latin typeface="+mn-lt"/>
              </a:rPr>
              <a:pPr marL="0" indent="0" algn="ctr">
                <a:spcBef>
                  <a:spcPct val="0"/>
                </a:spcBef>
                <a:spcAft>
                  <a:spcPct val="0"/>
                </a:spcAft>
                <a:buNone/>
              </a:pPr>
              <a:t>2024</a:t>
            </a:fld>
            <a:endParaRPr lang="da-DK" sz="1000" noProof="0">
              <a:latin typeface="+mn-lt"/>
            </a:endParaRPr>
          </a:p>
        </p:txBody>
      </p:sp>
      <p:sp>
        <p:nvSpPr>
          <p:cNvPr id="29" name="Text Placeholder 2">
            <a:extLst>
              <a:ext uri="{FF2B5EF4-FFF2-40B4-BE49-F238E27FC236}">
                <a16:creationId xmlns:a16="http://schemas.microsoft.com/office/drawing/2014/main" id="{1D5636C8-469D-667A-88C2-F1B92218D212}"/>
              </a:ext>
            </a:extLst>
          </p:cNvPr>
          <p:cNvSpPr>
            <a:spLocks noGrp="1"/>
          </p:cNvSpPr>
          <p:nvPr>
            <p:custDataLst>
              <p:tags r:id="rId8"/>
            </p:custDataLst>
          </p:nvPr>
        </p:nvSpPr>
        <p:spPr bwMode="auto">
          <a:xfrm>
            <a:off x="5149850" y="629761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FD130D-A441-4B74-887A-BA88FC45EF12}" type="datetime'''''2''''0''''''''''''''''''2''5'''''''''''''''''''''''''">
              <a:rPr lang="da-DK" sz="1000" noProof="0" smtClean="0">
                <a:latin typeface="+mn-lt"/>
              </a:rPr>
              <a:pPr marL="0" indent="0" algn="ctr">
                <a:spcBef>
                  <a:spcPct val="0"/>
                </a:spcBef>
                <a:spcAft>
                  <a:spcPct val="0"/>
                </a:spcAft>
                <a:buNone/>
              </a:pPr>
              <a:t>2025</a:t>
            </a:fld>
            <a:endParaRPr lang="da-DK" sz="1000" noProof="0">
              <a:latin typeface="+mn-lt"/>
            </a:endParaRPr>
          </a:p>
        </p:txBody>
      </p:sp>
      <p:graphicFrame>
        <p:nvGraphicFramePr>
          <p:cNvPr id="19" name="Chart 18">
            <a:extLst>
              <a:ext uri="{FF2B5EF4-FFF2-40B4-BE49-F238E27FC236}">
                <a16:creationId xmlns:a16="http://schemas.microsoft.com/office/drawing/2014/main" id="{C615FEA7-0650-045F-D1C6-7342D260925F}"/>
              </a:ext>
            </a:extLst>
          </p:cNvPr>
          <p:cNvGraphicFramePr/>
          <p:nvPr>
            <p:custDataLst>
              <p:tags r:id="rId9"/>
            </p:custDataLst>
            <p:extLst>
              <p:ext uri="{D42A27DB-BD31-4B8C-83A1-F6EECF244321}">
                <p14:modId xmlns:p14="http://schemas.microsoft.com/office/powerpoint/2010/main" val="1938543024"/>
              </p:ext>
            </p:extLst>
          </p:nvPr>
        </p:nvGraphicFramePr>
        <p:xfrm>
          <a:off x="2454275" y="2457450"/>
          <a:ext cx="3244850" cy="1011238"/>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30" name="Chart 29">
            <a:extLst>
              <a:ext uri="{FF2B5EF4-FFF2-40B4-BE49-F238E27FC236}">
                <a16:creationId xmlns:a16="http://schemas.microsoft.com/office/drawing/2014/main" id="{E38309D9-78A5-0BE0-2462-B2DEFFD49BA5}"/>
              </a:ext>
            </a:extLst>
          </p:cNvPr>
          <p:cNvGraphicFramePr/>
          <p:nvPr>
            <p:custDataLst>
              <p:tags r:id="rId10"/>
            </p:custDataLst>
            <p:extLst>
              <p:ext uri="{D42A27DB-BD31-4B8C-83A1-F6EECF244321}">
                <p14:modId xmlns:p14="http://schemas.microsoft.com/office/powerpoint/2010/main" val="724505364"/>
              </p:ext>
            </p:extLst>
          </p:nvPr>
        </p:nvGraphicFramePr>
        <p:xfrm>
          <a:off x="2454275" y="3303588"/>
          <a:ext cx="3244850" cy="930275"/>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6" name="Chart 35">
            <a:extLst>
              <a:ext uri="{FF2B5EF4-FFF2-40B4-BE49-F238E27FC236}">
                <a16:creationId xmlns:a16="http://schemas.microsoft.com/office/drawing/2014/main" id="{71F26A0C-63F2-E6D6-84A1-4D7634E7B490}"/>
              </a:ext>
            </a:extLst>
          </p:cNvPr>
          <p:cNvGraphicFramePr/>
          <p:nvPr>
            <p:custDataLst>
              <p:tags r:id="rId11"/>
            </p:custDataLst>
            <p:extLst>
              <p:ext uri="{D42A27DB-BD31-4B8C-83A1-F6EECF244321}">
                <p14:modId xmlns:p14="http://schemas.microsoft.com/office/powerpoint/2010/main" val="3726223174"/>
              </p:ext>
            </p:extLst>
          </p:nvPr>
        </p:nvGraphicFramePr>
        <p:xfrm>
          <a:off x="2454275" y="4835525"/>
          <a:ext cx="3244850" cy="931863"/>
        </p:xfrm>
        <a:graphic>
          <a:graphicData uri="http://schemas.openxmlformats.org/drawingml/2006/chart">
            <c:chart xmlns:c="http://schemas.openxmlformats.org/drawingml/2006/chart" xmlns:r="http://schemas.openxmlformats.org/officeDocument/2006/relationships" r:id="rId28"/>
          </a:graphicData>
        </a:graphic>
      </p:graphicFrame>
      <p:cxnSp>
        <p:nvCxnSpPr>
          <p:cNvPr id="48" name="Straight Connector 47">
            <a:extLst>
              <a:ext uri="{FF2B5EF4-FFF2-40B4-BE49-F238E27FC236}">
                <a16:creationId xmlns:a16="http://schemas.microsoft.com/office/drawing/2014/main" id="{EF8B6735-65FD-E21A-70F0-768093C5F35F}"/>
              </a:ext>
            </a:extLst>
          </p:cNvPr>
          <p:cNvCxnSpPr>
            <a:cxnSpLocks/>
          </p:cNvCxnSpPr>
          <p:nvPr/>
        </p:nvCxnSpPr>
        <p:spPr>
          <a:xfrm>
            <a:off x="411163" y="3346450"/>
            <a:ext cx="83645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0BA9F15-7BFB-D72B-B1B9-5158EB3B83BE}"/>
              </a:ext>
            </a:extLst>
          </p:cNvPr>
          <p:cNvCxnSpPr>
            <a:cxnSpLocks/>
          </p:cNvCxnSpPr>
          <p:nvPr/>
        </p:nvCxnSpPr>
        <p:spPr>
          <a:xfrm>
            <a:off x="411163" y="5654519"/>
            <a:ext cx="83645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5006BED-DCBD-EDB3-492D-B3DF0E61A67E}"/>
              </a:ext>
            </a:extLst>
          </p:cNvPr>
          <p:cNvCxnSpPr>
            <a:cxnSpLocks/>
          </p:cNvCxnSpPr>
          <p:nvPr/>
        </p:nvCxnSpPr>
        <p:spPr>
          <a:xfrm>
            <a:off x="411163" y="4884453"/>
            <a:ext cx="83645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C064F3-5550-21EE-D04A-CF45A5E112B7}"/>
              </a:ext>
            </a:extLst>
          </p:cNvPr>
          <p:cNvCxnSpPr>
            <a:cxnSpLocks/>
          </p:cNvCxnSpPr>
          <p:nvPr/>
        </p:nvCxnSpPr>
        <p:spPr>
          <a:xfrm>
            <a:off x="411163" y="4114387"/>
            <a:ext cx="83645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FB6EFCD-45E2-49DE-3374-10B2FA1EDF62}"/>
              </a:ext>
            </a:extLst>
          </p:cNvPr>
          <p:cNvSpPr txBox="1"/>
          <p:nvPr/>
        </p:nvSpPr>
        <p:spPr>
          <a:xfrm>
            <a:off x="342900" y="2761615"/>
            <a:ext cx="1063606" cy="400110"/>
          </a:xfrm>
          <a:prstGeom prst="rect">
            <a:avLst/>
          </a:prstGeom>
          <a:noFill/>
        </p:spPr>
        <p:txBody>
          <a:bodyPr wrap="square" rtlCol="0">
            <a:spAutoFit/>
          </a:bodyPr>
          <a:lstStyle/>
          <a:p>
            <a:r>
              <a:rPr lang="da-DK" sz="1000" b="1" noProof="0"/>
              <a:t>Region</a:t>
            </a:r>
          </a:p>
          <a:p>
            <a:r>
              <a:rPr lang="da-DK" sz="1000" b="1" noProof="0"/>
              <a:t>Hovedstaden</a:t>
            </a:r>
          </a:p>
        </p:txBody>
      </p:sp>
      <p:sp>
        <p:nvSpPr>
          <p:cNvPr id="53" name="TextBox 52">
            <a:extLst>
              <a:ext uri="{FF2B5EF4-FFF2-40B4-BE49-F238E27FC236}">
                <a16:creationId xmlns:a16="http://schemas.microsoft.com/office/drawing/2014/main" id="{852C99A8-F634-08A3-3D70-181201147D20}"/>
              </a:ext>
            </a:extLst>
          </p:cNvPr>
          <p:cNvSpPr txBox="1"/>
          <p:nvPr/>
        </p:nvSpPr>
        <p:spPr>
          <a:xfrm>
            <a:off x="342900" y="3531284"/>
            <a:ext cx="1063606" cy="400110"/>
          </a:xfrm>
          <a:prstGeom prst="rect">
            <a:avLst/>
          </a:prstGeom>
          <a:noFill/>
        </p:spPr>
        <p:txBody>
          <a:bodyPr wrap="square" rtlCol="0">
            <a:spAutoFit/>
          </a:bodyPr>
          <a:lstStyle/>
          <a:p>
            <a:r>
              <a:rPr lang="da-DK" sz="1000" b="1" noProof="0"/>
              <a:t>Region</a:t>
            </a:r>
          </a:p>
          <a:p>
            <a:r>
              <a:rPr lang="da-DK" sz="1000" b="1" noProof="0"/>
              <a:t>Midtjylland</a:t>
            </a:r>
          </a:p>
        </p:txBody>
      </p:sp>
      <p:sp>
        <p:nvSpPr>
          <p:cNvPr id="54" name="TextBox 53">
            <a:extLst>
              <a:ext uri="{FF2B5EF4-FFF2-40B4-BE49-F238E27FC236}">
                <a16:creationId xmlns:a16="http://schemas.microsoft.com/office/drawing/2014/main" id="{8E49A4B6-5BF3-F248-6886-ECEA952F90A2}"/>
              </a:ext>
            </a:extLst>
          </p:cNvPr>
          <p:cNvSpPr txBox="1"/>
          <p:nvPr/>
        </p:nvSpPr>
        <p:spPr>
          <a:xfrm>
            <a:off x="342900" y="4300953"/>
            <a:ext cx="1063606" cy="400110"/>
          </a:xfrm>
          <a:prstGeom prst="rect">
            <a:avLst/>
          </a:prstGeom>
          <a:noFill/>
        </p:spPr>
        <p:txBody>
          <a:bodyPr wrap="square" rtlCol="0">
            <a:spAutoFit/>
          </a:bodyPr>
          <a:lstStyle/>
          <a:p>
            <a:r>
              <a:rPr lang="da-DK" sz="1000" b="1" noProof="0"/>
              <a:t>Region</a:t>
            </a:r>
          </a:p>
          <a:p>
            <a:r>
              <a:rPr lang="da-DK" sz="1000" b="1" noProof="0"/>
              <a:t>Sjælland</a:t>
            </a:r>
          </a:p>
        </p:txBody>
      </p:sp>
      <p:sp>
        <p:nvSpPr>
          <p:cNvPr id="55" name="TextBox 54">
            <a:extLst>
              <a:ext uri="{FF2B5EF4-FFF2-40B4-BE49-F238E27FC236}">
                <a16:creationId xmlns:a16="http://schemas.microsoft.com/office/drawing/2014/main" id="{F8C56385-89E4-2A46-EFAB-1427E812E847}"/>
              </a:ext>
            </a:extLst>
          </p:cNvPr>
          <p:cNvSpPr txBox="1"/>
          <p:nvPr/>
        </p:nvSpPr>
        <p:spPr>
          <a:xfrm>
            <a:off x="342900" y="5070622"/>
            <a:ext cx="1063606" cy="400110"/>
          </a:xfrm>
          <a:prstGeom prst="rect">
            <a:avLst/>
          </a:prstGeom>
          <a:noFill/>
        </p:spPr>
        <p:txBody>
          <a:bodyPr wrap="square" rtlCol="0">
            <a:spAutoFit/>
          </a:bodyPr>
          <a:lstStyle/>
          <a:p>
            <a:r>
              <a:rPr lang="da-DK" sz="1000" b="1" noProof="0"/>
              <a:t>Region</a:t>
            </a:r>
          </a:p>
          <a:p>
            <a:r>
              <a:rPr lang="da-DK" sz="1000" b="1" noProof="0"/>
              <a:t>Syddanmark</a:t>
            </a:r>
          </a:p>
        </p:txBody>
      </p:sp>
      <p:sp>
        <p:nvSpPr>
          <p:cNvPr id="56" name="TextBox 55">
            <a:extLst>
              <a:ext uri="{FF2B5EF4-FFF2-40B4-BE49-F238E27FC236}">
                <a16:creationId xmlns:a16="http://schemas.microsoft.com/office/drawing/2014/main" id="{902932AD-1421-3D7A-6903-FF0747773E0E}"/>
              </a:ext>
            </a:extLst>
          </p:cNvPr>
          <p:cNvSpPr txBox="1"/>
          <p:nvPr/>
        </p:nvSpPr>
        <p:spPr>
          <a:xfrm>
            <a:off x="342900" y="5840291"/>
            <a:ext cx="1063606" cy="400110"/>
          </a:xfrm>
          <a:prstGeom prst="rect">
            <a:avLst/>
          </a:prstGeom>
          <a:noFill/>
        </p:spPr>
        <p:txBody>
          <a:bodyPr wrap="square" rtlCol="0">
            <a:spAutoFit/>
          </a:bodyPr>
          <a:lstStyle/>
          <a:p>
            <a:r>
              <a:rPr lang="da-DK" sz="1000" b="1" noProof="0"/>
              <a:t>Region</a:t>
            </a:r>
          </a:p>
          <a:p>
            <a:r>
              <a:rPr lang="da-DK" sz="1000" b="1" noProof="0"/>
              <a:t>Nordjylland</a:t>
            </a:r>
          </a:p>
        </p:txBody>
      </p:sp>
      <p:cxnSp>
        <p:nvCxnSpPr>
          <p:cNvPr id="57" name="Straight Connector 56">
            <a:extLst>
              <a:ext uri="{FF2B5EF4-FFF2-40B4-BE49-F238E27FC236}">
                <a16:creationId xmlns:a16="http://schemas.microsoft.com/office/drawing/2014/main" id="{D34DBDA5-A025-9F62-429A-A1CC43140D55}"/>
              </a:ext>
            </a:extLst>
          </p:cNvPr>
          <p:cNvCxnSpPr>
            <a:cxnSpLocks/>
          </p:cNvCxnSpPr>
          <p:nvPr/>
        </p:nvCxnSpPr>
        <p:spPr>
          <a:xfrm flipV="1">
            <a:off x="4793317" y="2779150"/>
            <a:ext cx="398801" cy="4115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4F6CE86-B546-7279-7AAC-EA5483848822}"/>
              </a:ext>
            </a:extLst>
          </p:cNvPr>
          <p:cNvSpPr txBox="1"/>
          <p:nvPr/>
        </p:nvSpPr>
        <p:spPr>
          <a:xfrm>
            <a:off x="4770840" y="2568447"/>
            <a:ext cx="485974" cy="246221"/>
          </a:xfrm>
          <a:prstGeom prst="rect">
            <a:avLst/>
          </a:prstGeom>
          <a:noFill/>
        </p:spPr>
        <p:txBody>
          <a:bodyPr wrap="square" rtlCol="0">
            <a:spAutoFit/>
          </a:bodyPr>
          <a:lstStyle/>
          <a:p>
            <a:r>
              <a:rPr lang="da-DK" sz="1000" noProof="0"/>
              <a:t>+0,8</a:t>
            </a:r>
          </a:p>
        </p:txBody>
      </p:sp>
      <p:cxnSp>
        <p:nvCxnSpPr>
          <p:cNvPr id="59" name="Straight Connector 58">
            <a:extLst>
              <a:ext uri="{FF2B5EF4-FFF2-40B4-BE49-F238E27FC236}">
                <a16:creationId xmlns:a16="http://schemas.microsoft.com/office/drawing/2014/main" id="{152D158A-5CAF-20C3-7066-B8A0AE95C99F}"/>
              </a:ext>
            </a:extLst>
          </p:cNvPr>
          <p:cNvCxnSpPr>
            <a:cxnSpLocks/>
          </p:cNvCxnSpPr>
          <p:nvPr/>
        </p:nvCxnSpPr>
        <p:spPr>
          <a:xfrm flipV="1">
            <a:off x="4788332" y="3615447"/>
            <a:ext cx="413735" cy="320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9519130-7F27-3D86-064A-F3506CB4CF60}"/>
              </a:ext>
            </a:extLst>
          </p:cNvPr>
          <p:cNvSpPr txBox="1"/>
          <p:nvPr/>
        </p:nvSpPr>
        <p:spPr>
          <a:xfrm>
            <a:off x="4770146" y="3399822"/>
            <a:ext cx="493713" cy="246221"/>
          </a:xfrm>
          <a:prstGeom prst="rect">
            <a:avLst/>
          </a:prstGeom>
          <a:noFill/>
        </p:spPr>
        <p:txBody>
          <a:bodyPr wrap="square" rtlCol="0">
            <a:spAutoFit/>
          </a:bodyPr>
          <a:lstStyle/>
          <a:p>
            <a:r>
              <a:rPr lang="da-DK" sz="1000" noProof="0"/>
              <a:t>+0,4</a:t>
            </a:r>
          </a:p>
        </p:txBody>
      </p:sp>
      <p:cxnSp>
        <p:nvCxnSpPr>
          <p:cNvPr id="61" name="Straight Connector 60">
            <a:extLst>
              <a:ext uri="{FF2B5EF4-FFF2-40B4-BE49-F238E27FC236}">
                <a16:creationId xmlns:a16="http://schemas.microsoft.com/office/drawing/2014/main" id="{176DA59E-BE5E-E751-2C15-380CD73CD1BF}"/>
              </a:ext>
            </a:extLst>
          </p:cNvPr>
          <p:cNvCxnSpPr>
            <a:cxnSpLocks/>
          </p:cNvCxnSpPr>
          <p:nvPr/>
        </p:nvCxnSpPr>
        <p:spPr>
          <a:xfrm flipV="1">
            <a:off x="4796522" y="4376706"/>
            <a:ext cx="405545" cy="2298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B8EA8BA-800D-54D9-238F-686B1FC613C4}"/>
              </a:ext>
            </a:extLst>
          </p:cNvPr>
          <p:cNvSpPr txBox="1"/>
          <p:nvPr/>
        </p:nvSpPr>
        <p:spPr>
          <a:xfrm>
            <a:off x="4763796" y="4150276"/>
            <a:ext cx="493713" cy="246221"/>
          </a:xfrm>
          <a:prstGeom prst="rect">
            <a:avLst/>
          </a:prstGeom>
          <a:noFill/>
        </p:spPr>
        <p:txBody>
          <a:bodyPr wrap="square" rtlCol="0">
            <a:spAutoFit/>
          </a:bodyPr>
          <a:lstStyle/>
          <a:p>
            <a:r>
              <a:rPr lang="da-DK" sz="1000" noProof="0"/>
              <a:t>+0,3</a:t>
            </a:r>
          </a:p>
        </p:txBody>
      </p:sp>
      <p:cxnSp>
        <p:nvCxnSpPr>
          <p:cNvPr id="63" name="Straight Connector 62">
            <a:extLst>
              <a:ext uri="{FF2B5EF4-FFF2-40B4-BE49-F238E27FC236}">
                <a16:creationId xmlns:a16="http://schemas.microsoft.com/office/drawing/2014/main" id="{0BE6B8CA-2840-663B-39B5-016F2ABA1555}"/>
              </a:ext>
            </a:extLst>
          </p:cNvPr>
          <p:cNvCxnSpPr>
            <a:cxnSpLocks/>
          </p:cNvCxnSpPr>
          <p:nvPr/>
        </p:nvCxnSpPr>
        <p:spPr>
          <a:xfrm flipV="1">
            <a:off x="4801405" y="5158581"/>
            <a:ext cx="400662" cy="186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BE9AB4C-53B9-101B-EABF-1A8BF35ADE4A}"/>
              </a:ext>
            </a:extLst>
          </p:cNvPr>
          <p:cNvSpPr txBox="1"/>
          <p:nvPr/>
        </p:nvSpPr>
        <p:spPr>
          <a:xfrm>
            <a:off x="4773321" y="4929745"/>
            <a:ext cx="493713" cy="246221"/>
          </a:xfrm>
          <a:prstGeom prst="rect">
            <a:avLst/>
          </a:prstGeom>
          <a:noFill/>
        </p:spPr>
        <p:txBody>
          <a:bodyPr wrap="square" rtlCol="0">
            <a:spAutoFit/>
          </a:bodyPr>
          <a:lstStyle/>
          <a:p>
            <a:r>
              <a:rPr lang="da-DK" sz="1000" noProof="0"/>
              <a:t>+0,2</a:t>
            </a:r>
          </a:p>
        </p:txBody>
      </p:sp>
      <p:cxnSp>
        <p:nvCxnSpPr>
          <p:cNvPr id="65" name="Straight Connector 64">
            <a:extLst>
              <a:ext uri="{FF2B5EF4-FFF2-40B4-BE49-F238E27FC236}">
                <a16:creationId xmlns:a16="http://schemas.microsoft.com/office/drawing/2014/main" id="{5129ABCD-CF5A-AD95-A5E4-A72CC608E5F8}"/>
              </a:ext>
            </a:extLst>
          </p:cNvPr>
          <p:cNvCxnSpPr>
            <a:cxnSpLocks/>
          </p:cNvCxnSpPr>
          <p:nvPr/>
        </p:nvCxnSpPr>
        <p:spPr>
          <a:xfrm flipV="1">
            <a:off x="4796522" y="5910559"/>
            <a:ext cx="405545" cy="1868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5118D412-3E9D-1C99-FC3A-077FCE6192EC}"/>
              </a:ext>
            </a:extLst>
          </p:cNvPr>
          <p:cNvSpPr txBox="1"/>
          <p:nvPr/>
        </p:nvSpPr>
        <p:spPr>
          <a:xfrm>
            <a:off x="4773321" y="5697676"/>
            <a:ext cx="493713" cy="246221"/>
          </a:xfrm>
          <a:prstGeom prst="rect">
            <a:avLst/>
          </a:prstGeom>
          <a:noFill/>
        </p:spPr>
        <p:txBody>
          <a:bodyPr wrap="square" rtlCol="0">
            <a:spAutoFit/>
          </a:bodyPr>
          <a:lstStyle/>
          <a:p>
            <a:r>
              <a:rPr lang="da-DK" sz="1000" noProof="0"/>
              <a:t>+0,4</a:t>
            </a:r>
          </a:p>
        </p:txBody>
      </p:sp>
      <p:sp>
        <p:nvSpPr>
          <p:cNvPr id="67" name="TextBox 66">
            <a:extLst>
              <a:ext uri="{FF2B5EF4-FFF2-40B4-BE49-F238E27FC236}">
                <a16:creationId xmlns:a16="http://schemas.microsoft.com/office/drawing/2014/main" id="{AC31D7F6-A0D1-E5EE-04C2-D33A81E25FF5}"/>
              </a:ext>
            </a:extLst>
          </p:cNvPr>
          <p:cNvSpPr txBox="1"/>
          <p:nvPr/>
        </p:nvSpPr>
        <p:spPr>
          <a:xfrm>
            <a:off x="1157165" y="2204876"/>
            <a:ext cx="1332391" cy="400110"/>
          </a:xfrm>
          <a:prstGeom prst="rect">
            <a:avLst/>
          </a:prstGeom>
          <a:noFill/>
        </p:spPr>
        <p:txBody>
          <a:bodyPr wrap="square" rtlCol="0">
            <a:spAutoFit/>
          </a:bodyPr>
          <a:lstStyle/>
          <a:p>
            <a:pPr algn="ctr"/>
            <a:r>
              <a:rPr lang="da-DK" sz="1000" noProof="0"/>
              <a:t>Antal </a:t>
            </a:r>
          </a:p>
          <a:p>
            <a:pPr algn="ctr"/>
            <a:r>
              <a:rPr lang="da-DK" sz="1000" noProof="0"/>
              <a:t>Indbyggere 2025:</a:t>
            </a:r>
          </a:p>
        </p:txBody>
      </p:sp>
      <p:sp>
        <p:nvSpPr>
          <p:cNvPr id="68" name="Rectangle: Rounded Corners 67">
            <a:extLst>
              <a:ext uri="{FF2B5EF4-FFF2-40B4-BE49-F238E27FC236}">
                <a16:creationId xmlns:a16="http://schemas.microsoft.com/office/drawing/2014/main" id="{3DCA3D9E-3416-2406-9DC1-F046CBB3BC9E}"/>
              </a:ext>
            </a:extLst>
          </p:cNvPr>
          <p:cNvSpPr/>
          <p:nvPr/>
        </p:nvSpPr>
        <p:spPr>
          <a:xfrm>
            <a:off x="1483635" y="2805537"/>
            <a:ext cx="679451" cy="312266"/>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noProof="0">
                <a:solidFill>
                  <a:schemeClr val="tx1"/>
                </a:solidFill>
              </a:rPr>
              <a:t>1</a:t>
            </a:r>
            <a:r>
              <a:rPr lang="da-DK" sz="1000">
                <a:solidFill>
                  <a:schemeClr val="tx1"/>
                </a:solidFill>
              </a:rPr>
              <a:t>,</a:t>
            </a:r>
            <a:r>
              <a:rPr lang="da-DK" sz="1000" noProof="0">
                <a:solidFill>
                  <a:schemeClr val="tx1"/>
                </a:solidFill>
              </a:rPr>
              <a:t>93 mio.</a:t>
            </a:r>
          </a:p>
        </p:txBody>
      </p:sp>
      <p:sp>
        <p:nvSpPr>
          <p:cNvPr id="69" name="Rectangle: Rounded Corners 68">
            <a:extLst>
              <a:ext uri="{FF2B5EF4-FFF2-40B4-BE49-F238E27FC236}">
                <a16:creationId xmlns:a16="http://schemas.microsoft.com/office/drawing/2014/main" id="{EC88E405-01D0-B057-01AF-4CAC3E3CF79F}"/>
              </a:ext>
            </a:extLst>
          </p:cNvPr>
          <p:cNvSpPr/>
          <p:nvPr/>
        </p:nvSpPr>
        <p:spPr>
          <a:xfrm>
            <a:off x="1483635" y="3575206"/>
            <a:ext cx="679451" cy="312266"/>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noProof="0">
                <a:solidFill>
                  <a:schemeClr val="tx1"/>
                </a:solidFill>
              </a:rPr>
              <a:t>1,37 mio.</a:t>
            </a:r>
          </a:p>
        </p:txBody>
      </p:sp>
      <p:sp>
        <p:nvSpPr>
          <p:cNvPr id="70" name="Rectangle: Rounded Corners 69">
            <a:extLst>
              <a:ext uri="{FF2B5EF4-FFF2-40B4-BE49-F238E27FC236}">
                <a16:creationId xmlns:a16="http://schemas.microsoft.com/office/drawing/2014/main" id="{44CE5B13-9302-C5A3-461D-4095527919EA}"/>
              </a:ext>
            </a:extLst>
          </p:cNvPr>
          <p:cNvSpPr/>
          <p:nvPr/>
        </p:nvSpPr>
        <p:spPr>
          <a:xfrm>
            <a:off x="1483635" y="4344875"/>
            <a:ext cx="679451" cy="312266"/>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noProof="0">
                <a:solidFill>
                  <a:schemeClr val="tx1"/>
                </a:solidFill>
              </a:rPr>
              <a:t>0,85 mio.</a:t>
            </a:r>
          </a:p>
        </p:txBody>
      </p:sp>
      <p:sp>
        <p:nvSpPr>
          <p:cNvPr id="71" name="Rectangle: Rounded Corners 70">
            <a:extLst>
              <a:ext uri="{FF2B5EF4-FFF2-40B4-BE49-F238E27FC236}">
                <a16:creationId xmlns:a16="http://schemas.microsoft.com/office/drawing/2014/main" id="{6640FBFC-7FBF-8CAB-6892-6CF787A54759}"/>
              </a:ext>
            </a:extLst>
          </p:cNvPr>
          <p:cNvSpPr/>
          <p:nvPr/>
        </p:nvSpPr>
        <p:spPr>
          <a:xfrm>
            <a:off x="1483635" y="5114544"/>
            <a:ext cx="679451" cy="312266"/>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noProof="0">
                <a:solidFill>
                  <a:schemeClr val="tx1"/>
                </a:solidFill>
              </a:rPr>
              <a:t>1,24 mio.</a:t>
            </a:r>
          </a:p>
        </p:txBody>
      </p:sp>
      <p:sp>
        <p:nvSpPr>
          <p:cNvPr id="72" name="Rectangle: Rounded Corners 71">
            <a:extLst>
              <a:ext uri="{FF2B5EF4-FFF2-40B4-BE49-F238E27FC236}">
                <a16:creationId xmlns:a16="http://schemas.microsoft.com/office/drawing/2014/main" id="{C39E11C6-C381-A4CC-8365-DEA17C6FB3F1}"/>
              </a:ext>
            </a:extLst>
          </p:cNvPr>
          <p:cNvSpPr/>
          <p:nvPr/>
        </p:nvSpPr>
        <p:spPr>
          <a:xfrm>
            <a:off x="1483635" y="5884213"/>
            <a:ext cx="679451" cy="312266"/>
          </a:xfrm>
          <a:prstGeom prst="roundRect">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noProof="0">
                <a:solidFill>
                  <a:schemeClr val="tx1"/>
                </a:solidFill>
              </a:rPr>
              <a:t>0,59 mio.</a:t>
            </a:r>
          </a:p>
        </p:txBody>
      </p:sp>
      <p:cxnSp>
        <p:nvCxnSpPr>
          <p:cNvPr id="73" name="Straight Connector 72">
            <a:extLst>
              <a:ext uri="{FF2B5EF4-FFF2-40B4-BE49-F238E27FC236}">
                <a16:creationId xmlns:a16="http://schemas.microsoft.com/office/drawing/2014/main" id="{B7EA3A08-56DD-7364-9F5B-5DA46BFA0149}"/>
              </a:ext>
            </a:extLst>
          </p:cNvPr>
          <p:cNvCxnSpPr>
            <a:cxnSpLocks/>
          </p:cNvCxnSpPr>
          <p:nvPr/>
        </p:nvCxnSpPr>
        <p:spPr>
          <a:xfrm>
            <a:off x="1268413" y="2573121"/>
            <a:ext cx="1588" cy="38528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A23469E-7BE9-759C-191D-DA4814604DB8}"/>
              </a:ext>
            </a:extLst>
          </p:cNvPr>
          <p:cNvCxnSpPr>
            <a:cxnSpLocks/>
          </p:cNvCxnSpPr>
          <p:nvPr/>
        </p:nvCxnSpPr>
        <p:spPr>
          <a:xfrm flipH="1">
            <a:off x="2376720" y="2573121"/>
            <a:ext cx="1588" cy="38528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91D389C-797C-C328-B9D4-75B7AAFE6465}"/>
              </a:ext>
            </a:extLst>
          </p:cNvPr>
          <p:cNvSpPr txBox="1"/>
          <p:nvPr>
            <p:custDataLst>
              <p:tags r:id="rId12"/>
            </p:custDataLst>
          </p:nvPr>
        </p:nvSpPr>
        <p:spPr>
          <a:xfrm>
            <a:off x="3294304" y="2358765"/>
            <a:ext cx="1565275" cy="246221"/>
          </a:xfrm>
          <a:prstGeom prst="rect">
            <a:avLst/>
          </a:prstGeom>
          <a:noFill/>
        </p:spPr>
        <p:txBody>
          <a:bodyPr wrap="square" rtlCol="0">
            <a:spAutoFit/>
          </a:bodyPr>
          <a:lstStyle/>
          <a:p>
            <a:pPr algn="ctr"/>
            <a:r>
              <a:rPr lang="da-DK" sz="1000" noProof="0"/>
              <a:t>Udvikling 2021-2025:</a:t>
            </a:r>
          </a:p>
        </p:txBody>
      </p:sp>
      <p:sp>
        <p:nvSpPr>
          <p:cNvPr id="76" name="TextBox 75">
            <a:extLst>
              <a:ext uri="{FF2B5EF4-FFF2-40B4-BE49-F238E27FC236}">
                <a16:creationId xmlns:a16="http://schemas.microsoft.com/office/drawing/2014/main" id="{D77A3FDD-7725-FD2E-8A9D-BCB8A88D833A}"/>
              </a:ext>
            </a:extLst>
          </p:cNvPr>
          <p:cNvSpPr txBox="1"/>
          <p:nvPr/>
        </p:nvSpPr>
        <p:spPr>
          <a:xfrm>
            <a:off x="7346950" y="2838560"/>
            <a:ext cx="996950" cy="246221"/>
          </a:xfrm>
          <a:prstGeom prst="rect">
            <a:avLst/>
          </a:prstGeom>
          <a:noFill/>
        </p:spPr>
        <p:txBody>
          <a:bodyPr wrap="square" rtlCol="0">
            <a:spAutoFit/>
          </a:bodyPr>
          <a:lstStyle/>
          <a:p>
            <a:r>
              <a:rPr lang="da-DK" sz="1000" noProof="0"/>
              <a:t>København</a:t>
            </a:r>
          </a:p>
        </p:txBody>
      </p:sp>
      <p:sp>
        <p:nvSpPr>
          <p:cNvPr id="77" name="TextBox 76">
            <a:extLst>
              <a:ext uri="{FF2B5EF4-FFF2-40B4-BE49-F238E27FC236}">
                <a16:creationId xmlns:a16="http://schemas.microsoft.com/office/drawing/2014/main" id="{0826DF66-DB96-621D-F81C-A35BAB3A1DAC}"/>
              </a:ext>
            </a:extLst>
          </p:cNvPr>
          <p:cNvSpPr txBox="1"/>
          <p:nvPr/>
        </p:nvSpPr>
        <p:spPr>
          <a:xfrm>
            <a:off x="7346950" y="3608229"/>
            <a:ext cx="996950" cy="246221"/>
          </a:xfrm>
          <a:prstGeom prst="rect">
            <a:avLst/>
          </a:prstGeom>
          <a:noFill/>
        </p:spPr>
        <p:txBody>
          <a:bodyPr wrap="square" rtlCol="0">
            <a:spAutoFit/>
          </a:bodyPr>
          <a:lstStyle/>
          <a:p>
            <a:r>
              <a:rPr lang="da-DK" sz="1000" noProof="0"/>
              <a:t>Aarhus</a:t>
            </a:r>
          </a:p>
        </p:txBody>
      </p:sp>
      <p:cxnSp>
        <p:nvCxnSpPr>
          <p:cNvPr id="78" name="Straight Connector 77">
            <a:extLst>
              <a:ext uri="{FF2B5EF4-FFF2-40B4-BE49-F238E27FC236}">
                <a16:creationId xmlns:a16="http://schemas.microsoft.com/office/drawing/2014/main" id="{0F4A8F11-A4DD-84F8-A146-CA43F55C18E7}"/>
              </a:ext>
            </a:extLst>
          </p:cNvPr>
          <p:cNvCxnSpPr>
            <a:cxnSpLocks/>
          </p:cNvCxnSpPr>
          <p:nvPr/>
        </p:nvCxnSpPr>
        <p:spPr>
          <a:xfrm flipH="1">
            <a:off x="7274586" y="2573121"/>
            <a:ext cx="1588" cy="38528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496E91D3-5F80-FDEC-F954-97ECB17AC33F}"/>
              </a:ext>
            </a:extLst>
          </p:cNvPr>
          <p:cNvSpPr txBox="1"/>
          <p:nvPr/>
        </p:nvSpPr>
        <p:spPr>
          <a:xfrm>
            <a:off x="7346950" y="5917236"/>
            <a:ext cx="996950" cy="246221"/>
          </a:xfrm>
          <a:prstGeom prst="rect">
            <a:avLst/>
          </a:prstGeom>
          <a:noFill/>
        </p:spPr>
        <p:txBody>
          <a:bodyPr wrap="square" rtlCol="0">
            <a:spAutoFit/>
          </a:bodyPr>
          <a:lstStyle/>
          <a:p>
            <a:r>
              <a:rPr lang="da-DK" sz="1000" noProof="0"/>
              <a:t>Aalborg</a:t>
            </a:r>
          </a:p>
        </p:txBody>
      </p:sp>
      <p:sp>
        <p:nvSpPr>
          <p:cNvPr id="80" name="TextBox 79">
            <a:extLst>
              <a:ext uri="{FF2B5EF4-FFF2-40B4-BE49-F238E27FC236}">
                <a16:creationId xmlns:a16="http://schemas.microsoft.com/office/drawing/2014/main" id="{6C221244-0DFF-EF8A-2B91-B61C81D3F874}"/>
              </a:ext>
            </a:extLst>
          </p:cNvPr>
          <p:cNvSpPr txBox="1"/>
          <p:nvPr/>
        </p:nvSpPr>
        <p:spPr>
          <a:xfrm>
            <a:off x="7346950" y="5147567"/>
            <a:ext cx="996950" cy="246221"/>
          </a:xfrm>
          <a:prstGeom prst="rect">
            <a:avLst/>
          </a:prstGeom>
          <a:noFill/>
        </p:spPr>
        <p:txBody>
          <a:bodyPr wrap="square" rtlCol="0">
            <a:spAutoFit/>
          </a:bodyPr>
          <a:lstStyle/>
          <a:p>
            <a:r>
              <a:rPr lang="da-DK" sz="1000" noProof="0"/>
              <a:t>Odense</a:t>
            </a:r>
          </a:p>
        </p:txBody>
      </p:sp>
      <p:graphicFrame>
        <p:nvGraphicFramePr>
          <p:cNvPr id="42" name="Chart 41">
            <a:extLst>
              <a:ext uri="{FF2B5EF4-FFF2-40B4-BE49-F238E27FC236}">
                <a16:creationId xmlns:a16="http://schemas.microsoft.com/office/drawing/2014/main" id="{C351888F-4594-44C0-4CFA-B13094A835A1}"/>
              </a:ext>
            </a:extLst>
          </p:cNvPr>
          <p:cNvGraphicFramePr/>
          <p:nvPr>
            <p:custDataLst>
              <p:tags r:id="rId13"/>
            </p:custDataLst>
            <p:extLst>
              <p:ext uri="{D42A27DB-BD31-4B8C-83A1-F6EECF244321}">
                <p14:modId xmlns:p14="http://schemas.microsoft.com/office/powerpoint/2010/main" val="4049420552"/>
              </p:ext>
            </p:extLst>
          </p:nvPr>
        </p:nvGraphicFramePr>
        <p:xfrm>
          <a:off x="7362825" y="2471738"/>
          <a:ext cx="2000250" cy="981075"/>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81" name="Chart 80">
            <a:extLst>
              <a:ext uri="{FF2B5EF4-FFF2-40B4-BE49-F238E27FC236}">
                <a16:creationId xmlns:a16="http://schemas.microsoft.com/office/drawing/2014/main" id="{B3C65B0C-EFB6-2EA6-50BE-961DA3F582C9}"/>
              </a:ext>
            </a:extLst>
          </p:cNvPr>
          <p:cNvGraphicFramePr/>
          <p:nvPr>
            <p:custDataLst>
              <p:tags r:id="rId14"/>
            </p:custDataLst>
            <p:extLst>
              <p:ext uri="{D42A27DB-BD31-4B8C-83A1-F6EECF244321}">
                <p14:modId xmlns:p14="http://schemas.microsoft.com/office/powerpoint/2010/main" val="4001755337"/>
              </p:ext>
            </p:extLst>
          </p:nvPr>
        </p:nvGraphicFramePr>
        <p:xfrm>
          <a:off x="7553325" y="5583238"/>
          <a:ext cx="1619250" cy="914400"/>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102" name="Chart 101">
            <a:extLst>
              <a:ext uri="{FF2B5EF4-FFF2-40B4-BE49-F238E27FC236}">
                <a16:creationId xmlns:a16="http://schemas.microsoft.com/office/drawing/2014/main" id="{160C8E36-087A-9DE0-869D-032F59C3FC2F}"/>
              </a:ext>
            </a:extLst>
          </p:cNvPr>
          <p:cNvGraphicFramePr/>
          <p:nvPr>
            <p:custDataLst>
              <p:tags r:id="rId15"/>
            </p:custDataLst>
            <p:extLst>
              <p:ext uri="{D42A27DB-BD31-4B8C-83A1-F6EECF244321}">
                <p14:modId xmlns:p14="http://schemas.microsoft.com/office/powerpoint/2010/main" val="3481221358"/>
              </p:ext>
            </p:extLst>
          </p:nvPr>
        </p:nvGraphicFramePr>
        <p:xfrm>
          <a:off x="7553325" y="4813300"/>
          <a:ext cx="1619250" cy="931863"/>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103" name="Chart 102">
            <a:extLst>
              <a:ext uri="{FF2B5EF4-FFF2-40B4-BE49-F238E27FC236}">
                <a16:creationId xmlns:a16="http://schemas.microsoft.com/office/drawing/2014/main" id="{9AA0F7BF-0A30-D01F-1707-50E1FE9C1080}"/>
              </a:ext>
            </a:extLst>
          </p:cNvPr>
          <p:cNvGraphicFramePr/>
          <p:nvPr>
            <p:custDataLst>
              <p:tags r:id="rId16"/>
            </p:custDataLst>
            <p:extLst>
              <p:ext uri="{D42A27DB-BD31-4B8C-83A1-F6EECF244321}">
                <p14:modId xmlns:p14="http://schemas.microsoft.com/office/powerpoint/2010/main" val="713507467"/>
              </p:ext>
            </p:extLst>
          </p:nvPr>
        </p:nvGraphicFramePr>
        <p:xfrm>
          <a:off x="7553325" y="4060825"/>
          <a:ext cx="1619250" cy="914400"/>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105" name="Chart 104">
            <a:extLst>
              <a:ext uri="{FF2B5EF4-FFF2-40B4-BE49-F238E27FC236}">
                <a16:creationId xmlns:a16="http://schemas.microsoft.com/office/drawing/2014/main" id="{1F1F3D9B-E6C3-6B2E-CA0D-AB02836C1B3C}"/>
              </a:ext>
            </a:extLst>
          </p:cNvPr>
          <p:cNvGraphicFramePr/>
          <p:nvPr>
            <p:custDataLst>
              <p:tags r:id="rId17"/>
            </p:custDataLst>
            <p:extLst>
              <p:ext uri="{D42A27DB-BD31-4B8C-83A1-F6EECF244321}">
                <p14:modId xmlns:p14="http://schemas.microsoft.com/office/powerpoint/2010/main" val="935370960"/>
              </p:ext>
            </p:extLst>
          </p:nvPr>
        </p:nvGraphicFramePr>
        <p:xfrm>
          <a:off x="7553325" y="3290888"/>
          <a:ext cx="1619250" cy="931862"/>
        </p:xfrm>
        <a:graphic>
          <a:graphicData uri="http://schemas.openxmlformats.org/drawingml/2006/chart">
            <c:chart xmlns:c="http://schemas.openxmlformats.org/drawingml/2006/chart" xmlns:r="http://schemas.openxmlformats.org/officeDocument/2006/relationships" r:id="rId33"/>
          </a:graphicData>
        </a:graphic>
      </p:graphicFrame>
      <p:sp>
        <p:nvSpPr>
          <p:cNvPr id="91" name="TextBox 90">
            <a:extLst>
              <a:ext uri="{FF2B5EF4-FFF2-40B4-BE49-F238E27FC236}">
                <a16:creationId xmlns:a16="http://schemas.microsoft.com/office/drawing/2014/main" id="{8E8A8465-DDC6-870F-06FD-56B815F4543A}"/>
              </a:ext>
            </a:extLst>
          </p:cNvPr>
          <p:cNvSpPr txBox="1"/>
          <p:nvPr/>
        </p:nvSpPr>
        <p:spPr>
          <a:xfrm>
            <a:off x="7346950" y="4377898"/>
            <a:ext cx="996950" cy="246221"/>
          </a:xfrm>
          <a:prstGeom prst="rect">
            <a:avLst/>
          </a:prstGeom>
          <a:noFill/>
        </p:spPr>
        <p:txBody>
          <a:bodyPr wrap="square" rtlCol="0">
            <a:spAutoFit/>
          </a:bodyPr>
          <a:lstStyle/>
          <a:p>
            <a:r>
              <a:rPr lang="da-DK" sz="1000" noProof="0"/>
              <a:t>Roskilde</a:t>
            </a:r>
          </a:p>
        </p:txBody>
      </p:sp>
      <p:sp>
        <p:nvSpPr>
          <p:cNvPr id="92" name="TextBox 91">
            <a:extLst>
              <a:ext uri="{FF2B5EF4-FFF2-40B4-BE49-F238E27FC236}">
                <a16:creationId xmlns:a16="http://schemas.microsoft.com/office/drawing/2014/main" id="{963B2494-1777-4E71-BAFE-6C44FE00D6F0}"/>
              </a:ext>
            </a:extLst>
          </p:cNvPr>
          <p:cNvSpPr txBox="1"/>
          <p:nvPr>
            <p:custDataLst>
              <p:tags r:id="rId18"/>
            </p:custDataLst>
          </p:nvPr>
        </p:nvSpPr>
        <p:spPr>
          <a:xfrm>
            <a:off x="7243299" y="2204876"/>
            <a:ext cx="1563689" cy="400110"/>
          </a:xfrm>
          <a:prstGeom prst="rect">
            <a:avLst/>
          </a:prstGeom>
          <a:noFill/>
        </p:spPr>
        <p:txBody>
          <a:bodyPr wrap="square" rtlCol="0">
            <a:spAutoFit/>
          </a:bodyPr>
          <a:lstStyle/>
          <a:p>
            <a:pPr algn="ctr"/>
            <a:r>
              <a:rPr lang="da-DK" sz="1000" noProof="0"/>
              <a:t>Største kommuner </a:t>
            </a:r>
          </a:p>
          <a:p>
            <a:pPr algn="ctr"/>
            <a:r>
              <a:rPr lang="da-DK" sz="1000" noProof="0"/>
              <a:t>i regionen:</a:t>
            </a:r>
          </a:p>
        </p:txBody>
      </p:sp>
      <p:cxnSp>
        <p:nvCxnSpPr>
          <p:cNvPr id="93" name="Straight Connector 92">
            <a:extLst>
              <a:ext uri="{FF2B5EF4-FFF2-40B4-BE49-F238E27FC236}">
                <a16:creationId xmlns:a16="http://schemas.microsoft.com/office/drawing/2014/main" id="{3A76F131-1C59-7245-A189-52C6E905D17D}"/>
              </a:ext>
            </a:extLst>
          </p:cNvPr>
          <p:cNvCxnSpPr>
            <a:cxnSpLocks/>
          </p:cNvCxnSpPr>
          <p:nvPr/>
        </p:nvCxnSpPr>
        <p:spPr>
          <a:xfrm flipH="1">
            <a:off x="5775575" y="2573999"/>
            <a:ext cx="1073" cy="385198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E9432A5D-60E5-C2E4-FF58-E54458247040}"/>
              </a:ext>
            </a:extLst>
          </p:cNvPr>
          <p:cNvSpPr txBox="1"/>
          <p:nvPr/>
        </p:nvSpPr>
        <p:spPr>
          <a:xfrm>
            <a:off x="5784680" y="2761615"/>
            <a:ext cx="1481874" cy="400110"/>
          </a:xfrm>
          <a:prstGeom prst="rect">
            <a:avLst/>
          </a:prstGeom>
          <a:noFill/>
        </p:spPr>
        <p:txBody>
          <a:bodyPr wrap="square" rtlCol="0">
            <a:spAutoFit/>
          </a:bodyPr>
          <a:lstStyle/>
          <a:p>
            <a:pPr algn="ctr"/>
            <a:r>
              <a:rPr lang="da-DK" sz="1000" noProof="0"/>
              <a:t>Rådgivning og forretningsservice</a:t>
            </a:r>
          </a:p>
        </p:txBody>
      </p:sp>
      <p:sp>
        <p:nvSpPr>
          <p:cNvPr id="95" name="TextBox 94">
            <a:extLst>
              <a:ext uri="{FF2B5EF4-FFF2-40B4-BE49-F238E27FC236}">
                <a16:creationId xmlns:a16="http://schemas.microsoft.com/office/drawing/2014/main" id="{B56D8F3E-442E-4096-479D-0E5158462744}"/>
              </a:ext>
            </a:extLst>
          </p:cNvPr>
          <p:cNvSpPr txBox="1"/>
          <p:nvPr/>
        </p:nvSpPr>
        <p:spPr>
          <a:xfrm>
            <a:off x="5784680" y="3453149"/>
            <a:ext cx="1481874" cy="553998"/>
          </a:xfrm>
          <a:prstGeom prst="rect">
            <a:avLst/>
          </a:prstGeom>
          <a:noFill/>
        </p:spPr>
        <p:txBody>
          <a:bodyPr wrap="square" rtlCol="0">
            <a:spAutoFit/>
          </a:bodyPr>
          <a:lstStyle/>
          <a:p>
            <a:pPr algn="ctr"/>
            <a:r>
              <a:rPr lang="da-DK" sz="1000" noProof="0"/>
              <a:t>Handel, transport, overnatning og restauranter</a:t>
            </a:r>
          </a:p>
        </p:txBody>
      </p:sp>
      <p:sp>
        <p:nvSpPr>
          <p:cNvPr id="96" name="TextBox 95">
            <a:extLst>
              <a:ext uri="{FF2B5EF4-FFF2-40B4-BE49-F238E27FC236}">
                <a16:creationId xmlns:a16="http://schemas.microsoft.com/office/drawing/2014/main" id="{47A02EA4-F0C0-8E09-2B86-C5A766762130}"/>
              </a:ext>
            </a:extLst>
          </p:cNvPr>
          <p:cNvSpPr txBox="1"/>
          <p:nvPr/>
        </p:nvSpPr>
        <p:spPr>
          <a:xfrm>
            <a:off x="5784680" y="4993281"/>
            <a:ext cx="1481874" cy="553998"/>
          </a:xfrm>
          <a:prstGeom prst="rect">
            <a:avLst/>
          </a:prstGeom>
          <a:noFill/>
        </p:spPr>
        <p:txBody>
          <a:bodyPr wrap="square" rtlCol="0">
            <a:spAutoFit/>
          </a:bodyPr>
          <a:lstStyle/>
          <a:p>
            <a:pPr algn="ctr"/>
            <a:r>
              <a:rPr lang="da-DK" sz="1000" noProof="0"/>
              <a:t>Handel, transport, overnatning og restauranter</a:t>
            </a:r>
          </a:p>
        </p:txBody>
      </p:sp>
      <p:sp>
        <p:nvSpPr>
          <p:cNvPr id="97" name="TextBox 96">
            <a:extLst>
              <a:ext uri="{FF2B5EF4-FFF2-40B4-BE49-F238E27FC236}">
                <a16:creationId xmlns:a16="http://schemas.microsoft.com/office/drawing/2014/main" id="{9584629B-8D04-E632-0441-F728E5F96CFB}"/>
              </a:ext>
            </a:extLst>
          </p:cNvPr>
          <p:cNvSpPr txBox="1"/>
          <p:nvPr/>
        </p:nvSpPr>
        <p:spPr>
          <a:xfrm>
            <a:off x="5784680" y="4300159"/>
            <a:ext cx="1481874" cy="400110"/>
          </a:xfrm>
          <a:prstGeom prst="rect">
            <a:avLst/>
          </a:prstGeom>
          <a:noFill/>
        </p:spPr>
        <p:txBody>
          <a:bodyPr wrap="square" rtlCol="0">
            <a:spAutoFit/>
          </a:bodyPr>
          <a:lstStyle/>
          <a:p>
            <a:pPr algn="ctr"/>
            <a:r>
              <a:rPr lang="da-DK" sz="1000" noProof="0"/>
              <a:t>Rådgivning og forretningsservice</a:t>
            </a:r>
          </a:p>
        </p:txBody>
      </p:sp>
      <p:sp>
        <p:nvSpPr>
          <p:cNvPr id="98" name="TextBox 97">
            <a:extLst>
              <a:ext uri="{FF2B5EF4-FFF2-40B4-BE49-F238E27FC236}">
                <a16:creationId xmlns:a16="http://schemas.microsoft.com/office/drawing/2014/main" id="{DA528B63-DE80-1FD4-8502-9B56F9A33FAD}"/>
              </a:ext>
            </a:extLst>
          </p:cNvPr>
          <p:cNvSpPr txBox="1"/>
          <p:nvPr/>
        </p:nvSpPr>
        <p:spPr>
          <a:xfrm>
            <a:off x="5784680" y="5763347"/>
            <a:ext cx="1481874" cy="553998"/>
          </a:xfrm>
          <a:prstGeom prst="rect">
            <a:avLst/>
          </a:prstGeom>
          <a:noFill/>
        </p:spPr>
        <p:txBody>
          <a:bodyPr wrap="square" rtlCol="0">
            <a:spAutoFit/>
          </a:bodyPr>
          <a:lstStyle/>
          <a:p>
            <a:pPr algn="ctr"/>
            <a:r>
              <a:rPr lang="da-DK" sz="1000" noProof="0"/>
              <a:t>Handel, transport, overnatning og restauranter</a:t>
            </a:r>
          </a:p>
        </p:txBody>
      </p:sp>
      <p:sp>
        <p:nvSpPr>
          <p:cNvPr id="99" name="TextBox 98">
            <a:extLst>
              <a:ext uri="{FF2B5EF4-FFF2-40B4-BE49-F238E27FC236}">
                <a16:creationId xmlns:a16="http://schemas.microsoft.com/office/drawing/2014/main" id="{9AF4676C-1653-58CA-9E0B-523F55249BB4}"/>
              </a:ext>
            </a:extLst>
          </p:cNvPr>
          <p:cNvSpPr txBox="1"/>
          <p:nvPr>
            <p:custDataLst>
              <p:tags r:id="rId19"/>
            </p:custDataLst>
          </p:nvPr>
        </p:nvSpPr>
        <p:spPr>
          <a:xfrm>
            <a:off x="5776254" y="2204876"/>
            <a:ext cx="1498726" cy="400110"/>
          </a:xfrm>
          <a:prstGeom prst="rect">
            <a:avLst/>
          </a:prstGeom>
          <a:noFill/>
        </p:spPr>
        <p:txBody>
          <a:bodyPr wrap="square" rtlCol="0">
            <a:spAutoFit/>
          </a:bodyPr>
          <a:lstStyle/>
          <a:p>
            <a:pPr algn="ctr"/>
            <a:r>
              <a:rPr lang="da-DK" sz="1000" noProof="0"/>
              <a:t>Dominerende brancher i regioner:</a:t>
            </a:r>
          </a:p>
        </p:txBody>
      </p:sp>
      <p:cxnSp>
        <p:nvCxnSpPr>
          <p:cNvPr id="224" name="Straight Connector 223">
            <a:extLst>
              <a:ext uri="{FF2B5EF4-FFF2-40B4-BE49-F238E27FC236}">
                <a16:creationId xmlns:a16="http://schemas.microsoft.com/office/drawing/2014/main" id="{D1845E9D-2A66-A610-42F4-11E017B0AD7E}"/>
              </a:ext>
            </a:extLst>
          </p:cNvPr>
          <p:cNvCxnSpPr>
            <a:cxnSpLocks/>
          </p:cNvCxnSpPr>
          <p:nvPr/>
        </p:nvCxnSpPr>
        <p:spPr>
          <a:xfrm>
            <a:off x="411163" y="2580515"/>
            <a:ext cx="8364538"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B82B296-F6D3-6191-C653-B5291E020BE8}"/>
              </a:ext>
            </a:extLst>
          </p:cNvPr>
          <p:cNvSpPr txBox="1"/>
          <p:nvPr/>
        </p:nvSpPr>
        <p:spPr>
          <a:xfrm>
            <a:off x="10815638" y="6424613"/>
            <a:ext cx="942975" cy="246221"/>
          </a:xfrm>
          <a:prstGeom prst="rect">
            <a:avLst/>
          </a:prstGeom>
          <a:noFill/>
        </p:spPr>
        <p:txBody>
          <a:bodyPr wrap="square" rtlCol="0">
            <a:spAutoFit/>
          </a:bodyPr>
          <a:lstStyle/>
          <a:p>
            <a:pPr algn="r"/>
            <a:r>
              <a:rPr lang="da-DK" sz="1000" noProof="0"/>
              <a:t>7</a:t>
            </a:r>
          </a:p>
        </p:txBody>
      </p:sp>
      <p:sp>
        <p:nvSpPr>
          <p:cNvPr id="116" name="TextBox 115">
            <a:extLst>
              <a:ext uri="{FF2B5EF4-FFF2-40B4-BE49-F238E27FC236}">
                <a16:creationId xmlns:a16="http://schemas.microsoft.com/office/drawing/2014/main" id="{BEEFE08D-5321-C4F7-9045-A0EFCD0E22AB}"/>
              </a:ext>
            </a:extLst>
          </p:cNvPr>
          <p:cNvSpPr txBox="1"/>
          <p:nvPr/>
        </p:nvSpPr>
        <p:spPr>
          <a:xfrm>
            <a:off x="9018588" y="1891526"/>
            <a:ext cx="808876" cy="276999"/>
          </a:xfrm>
          <a:prstGeom prst="rect">
            <a:avLst/>
          </a:prstGeom>
          <a:noFill/>
        </p:spPr>
        <p:txBody>
          <a:bodyPr wrap="none" lIns="0" rtlCol="0">
            <a:spAutoFit/>
          </a:bodyPr>
          <a:lstStyle/>
          <a:p>
            <a:r>
              <a:rPr lang="en-GB" sz="1200" b="1"/>
              <a:t>Highlights</a:t>
            </a:r>
            <a:endParaRPr lang="da-DK" sz="1200" b="1" noProof="0"/>
          </a:p>
        </p:txBody>
      </p:sp>
      <p:cxnSp>
        <p:nvCxnSpPr>
          <p:cNvPr id="117" name="Straight Connector 116">
            <a:extLst>
              <a:ext uri="{FF2B5EF4-FFF2-40B4-BE49-F238E27FC236}">
                <a16:creationId xmlns:a16="http://schemas.microsoft.com/office/drawing/2014/main" id="{143153DF-3FF9-7682-A65F-AAF9ABE68FB5}"/>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00E2C227-AE94-E407-75D3-65C5D7F6531D}"/>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noProof="0"/>
              <a:t>Samme mønster i koncentration: </a:t>
            </a:r>
            <a:r>
              <a:rPr lang="da-DK" sz="1000" b="0" noProof="0"/>
              <a:t>Fordelingen per 1.000 indbyggere følger samme udviklingsmønster som antallet af nystiftede virksomheder.</a:t>
            </a:r>
          </a:p>
          <a:p>
            <a:endParaRPr lang="da-DK" sz="1000" b="0" noProof="0"/>
          </a:p>
          <a:p>
            <a:r>
              <a:rPr lang="da-DK" sz="1000" noProof="0"/>
              <a:t>Størst koncentration i Hovedstaden: </a:t>
            </a:r>
            <a:r>
              <a:rPr lang="da-DK" sz="1000" b="0" noProof="0"/>
              <a:t>Størst stigning (og niveau) i nystiftede virksomheder per 1.000 indbyggere i 2025.</a:t>
            </a:r>
          </a:p>
          <a:p>
            <a:endParaRPr lang="da-DK" sz="1000" b="0" noProof="0"/>
          </a:p>
          <a:p>
            <a:r>
              <a:rPr lang="da-DK" sz="1000" noProof="0"/>
              <a:t>Tegn på genopretning: </a:t>
            </a:r>
            <a:r>
              <a:rPr lang="da-DK" sz="1000" b="0" noProof="0"/>
              <a:t>Stigningen kan tyde på genopretning efter fald i 2021-2024</a:t>
            </a:r>
          </a:p>
          <a:p>
            <a:endParaRPr lang="da-DK" sz="1000" b="0" noProof="0"/>
          </a:p>
          <a:p>
            <a:r>
              <a:rPr lang="da-DK" sz="1000" noProof="0"/>
              <a:t>Branchefordeling varierer: </a:t>
            </a:r>
            <a:r>
              <a:rPr lang="da-DK" sz="1000" b="0" noProof="0"/>
              <a:t>Rådgivning dominerer i Hovedstaden og Sjælland, handel og transport i øvrige regioner.</a:t>
            </a:r>
          </a:p>
          <a:p>
            <a:endParaRPr lang="da-DK" sz="1000" b="0" noProof="0"/>
          </a:p>
          <a:p>
            <a:r>
              <a:rPr lang="da-DK" sz="1000" noProof="0"/>
              <a:t>Store byer skiller sig ud: </a:t>
            </a:r>
            <a:r>
              <a:rPr lang="da-DK" sz="1000" b="0" noProof="0"/>
              <a:t>Højere koncentration af nystiftede virksomheder end den omkringliggende region.</a:t>
            </a:r>
          </a:p>
        </p:txBody>
      </p:sp>
    </p:spTree>
    <p:extLst>
      <p:ext uri="{BB962C8B-B14F-4D97-AF65-F5344CB8AC3E}">
        <p14:creationId xmlns:p14="http://schemas.microsoft.com/office/powerpoint/2010/main" val="80432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BE275-6E19-9FCD-C7FB-1F2A1E3540E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A9AB805-EBB6-0DF7-2E09-8122CFA71578}"/>
              </a:ext>
            </a:extLst>
          </p:cNvPr>
          <p:cNvGraphicFramePr>
            <a:graphicFrameLocks noChangeAspect="1"/>
          </p:cNvGraphicFramePr>
          <p:nvPr>
            <p:custDataLst>
              <p:tags r:id="rId1"/>
            </p:custDataLst>
            <p:extLst>
              <p:ext uri="{D42A27DB-BD31-4B8C-83A1-F6EECF244321}">
                <p14:modId xmlns:p14="http://schemas.microsoft.com/office/powerpoint/2010/main" val="1949653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04" imgH="405" progId="TCLayout.ActiveDocument.1">
                  <p:embed/>
                </p:oleObj>
              </mc:Choice>
              <mc:Fallback>
                <p:oleObj name="think-cell Slide" r:id="rId62" imgW="404" imgH="405" progId="TCLayout.ActiveDocument.1">
                  <p:embed/>
                  <p:pic>
                    <p:nvPicPr>
                      <p:cNvPr id="11" name="think-cell data - do not delete" hidden="1">
                        <a:extLst>
                          <a:ext uri="{FF2B5EF4-FFF2-40B4-BE49-F238E27FC236}">
                            <a16:creationId xmlns:a16="http://schemas.microsoft.com/office/drawing/2014/main" id="{5A9AB805-EBB6-0DF7-2E09-8122CFA71578}"/>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221EAF-ABF2-2106-ACFA-CF05ABAE782F}"/>
              </a:ext>
            </a:extLst>
          </p:cNvPr>
          <p:cNvSpPr>
            <a:spLocks noGrp="1"/>
          </p:cNvSpPr>
          <p:nvPr>
            <p:ph type="title"/>
          </p:nvPr>
        </p:nvSpPr>
        <p:spPr/>
        <p:txBody>
          <a:bodyPr vert="horz"/>
          <a:lstStyle/>
          <a:p>
            <a:r>
              <a:rPr lang="da-DK" sz="2800">
                <a:solidFill>
                  <a:srgbClr val="121212"/>
                </a:solidFill>
                <a:effectLst/>
                <a:latin typeface="Eifont Display" pitchFamily="2" charset="0"/>
              </a:rPr>
              <a:t>Udskiftning i kommuner med størst vækst i nystiftede virksomheder pr. 1000 indbyggere</a:t>
            </a:r>
            <a:endParaRPr lang="en-GB" sz="2800"/>
          </a:p>
        </p:txBody>
      </p:sp>
      <p:sp>
        <p:nvSpPr>
          <p:cNvPr id="3" name="Text Placeholder 2">
            <a:extLst>
              <a:ext uri="{FF2B5EF4-FFF2-40B4-BE49-F238E27FC236}">
                <a16:creationId xmlns:a16="http://schemas.microsoft.com/office/drawing/2014/main" id="{43820A4B-A34D-9F43-6BF7-0E8521D2D54F}"/>
              </a:ext>
            </a:extLst>
          </p:cNvPr>
          <p:cNvSpPr>
            <a:spLocks noGrp="1"/>
          </p:cNvSpPr>
          <p:nvPr>
            <p:ph type="body" sz="quarter" idx="14"/>
          </p:nvPr>
        </p:nvSpPr>
        <p:spPr/>
        <p:txBody>
          <a:bodyPr/>
          <a:lstStyle/>
          <a:p>
            <a:r>
              <a:rPr lang="en-GB" err="1"/>
              <a:t>Kommuner</a:t>
            </a:r>
            <a:endParaRPr lang="en-GB"/>
          </a:p>
        </p:txBody>
      </p:sp>
      <p:sp>
        <p:nvSpPr>
          <p:cNvPr id="22" name="Text Placeholder 4">
            <a:extLst>
              <a:ext uri="{FF2B5EF4-FFF2-40B4-BE49-F238E27FC236}">
                <a16:creationId xmlns:a16="http://schemas.microsoft.com/office/drawing/2014/main" id="{D1FB2C5A-7851-7FF5-0613-CB4BB3598BCD}"/>
              </a:ext>
            </a:extLst>
          </p:cNvPr>
          <p:cNvSpPr>
            <a:spLocks noGrp="1"/>
          </p:cNvSpPr>
          <p:nvPr>
            <p:ph type="body" sz="quarter" idx="16"/>
          </p:nvPr>
        </p:nvSpPr>
        <p:spPr/>
        <p:txBody>
          <a:bodyPr/>
          <a:lstStyle/>
          <a:p>
            <a:r>
              <a:rPr lang="da-DK"/>
              <a:t>Kilde: </a:t>
            </a:r>
            <a:r>
              <a:rPr lang="da-DK" err="1"/>
              <a:t>LassoX</a:t>
            </a:r>
            <a:r>
              <a:rPr lang="da-DK"/>
              <a:t> – hentet februar 2025</a:t>
            </a:r>
          </a:p>
          <a:p>
            <a:endParaRPr lang="en-GB"/>
          </a:p>
        </p:txBody>
      </p:sp>
      <p:cxnSp>
        <p:nvCxnSpPr>
          <p:cNvPr id="6" name="Straight Connector 5">
            <a:extLst>
              <a:ext uri="{FF2B5EF4-FFF2-40B4-BE49-F238E27FC236}">
                <a16:creationId xmlns:a16="http://schemas.microsoft.com/office/drawing/2014/main" id="{984FD433-55C4-55DA-25F6-D137D2773175}"/>
              </a:ext>
            </a:extLst>
          </p:cNvPr>
          <p:cNvCxnSpPr>
            <a:cxnSpLocks/>
          </p:cNvCxnSpPr>
          <p:nvPr/>
        </p:nvCxnSpPr>
        <p:spPr>
          <a:xfrm>
            <a:off x="431798" y="2168525"/>
            <a:ext cx="45809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51B29CF-752A-5C15-008A-52FDA1A2AF91}"/>
              </a:ext>
            </a:extLst>
          </p:cNvPr>
          <p:cNvSpPr txBox="1"/>
          <p:nvPr/>
        </p:nvSpPr>
        <p:spPr>
          <a:xfrm>
            <a:off x="431800" y="1706860"/>
            <a:ext cx="4581525" cy="461665"/>
          </a:xfrm>
          <a:prstGeom prst="rect">
            <a:avLst/>
          </a:prstGeom>
          <a:noFill/>
        </p:spPr>
        <p:txBody>
          <a:bodyPr wrap="square" lIns="0" rtlCol="0">
            <a:noAutofit/>
          </a:bodyPr>
          <a:lstStyle/>
          <a:p>
            <a:r>
              <a:rPr lang="da-DK" sz="1200" b="1"/>
              <a:t>Kommuner med flest nystiftede virksomheder pr. 1000 indbyggere, </a:t>
            </a:r>
            <a:r>
              <a:rPr lang="da-DK" sz="1200"/>
              <a:t>antal</a:t>
            </a:r>
          </a:p>
        </p:txBody>
      </p:sp>
      <p:cxnSp>
        <p:nvCxnSpPr>
          <p:cNvPr id="14" name="Straight Connector 13">
            <a:extLst>
              <a:ext uri="{FF2B5EF4-FFF2-40B4-BE49-F238E27FC236}">
                <a16:creationId xmlns:a16="http://schemas.microsoft.com/office/drawing/2014/main" id="{5ACBE65D-9078-6302-98EE-262EA52BBFFF}"/>
              </a:ext>
            </a:extLst>
          </p:cNvPr>
          <p:cNvCxnSpPr>
            <a:cxnSpLocks/>
          </p:cNvCxnSpPr>
          <p:nvPr/>
        </p:nvCxnSpPr>
        <p:spPr>
          <a:xfrm>
            <a:off x="5248399" y="2168523"/>
            <a:ext cx="35781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1C2ADD1-511C-D8CA-FF30-08F5A5291536}"/>
              </a:ext>
            </a:extLst>
          </p:cNvPr>
          <p:cNvSpPr txBox="1"/>
          <p:nvPr/>
        </p:nvSpPr>
        <p:spPr>
          <a:xfrm>
            <a:off x="5248399" y="1706858"/>
            <a:ext cx="3578101" cy="461665"/>
          </a:xfrm>
          <a:prstGeom prst="rect">
            <a:avLst/>
          </a:prstGeom>
          <a:noFill/>
        </p:spPr>
        <p:txBody>
          <a:bodyPr wrap="square" lIns="0" rtlCol="0">
            <a:spAutoFit/>
          </a:bodyPr>
          <a:lstStyle/>
          <a:p>
            <a:r>
              <a:rPr lang="da-DK" sz="1200" b="1"/>
              <a:t>Kommuner med størst vækst af nystiftede virksomheder pr. 1000 indbyggere, </a:t>
            </a:r>
            <a:r>
              <a:rPr lang="da-DK" sz="1200"/>
              <a:t>antal</a:t>
            </a:r>
          </a:p>
        </p:txBody>
      </p:sp>
      <p:sp>
        <p:nvSpPr>
          <p:cNvPr id="17" name="Rectangle: Rounded Corners 16">
            <a:extLst>
              <a:ext uri="{FF2B5EF4-FFF2-40B4-BE49-F238E27FC236}">
                <a16:creationId xmlns:a16="http://schemas.microsoft.com/office/drawing/2014/main" id="{B374DBC9-2628-A1B1-5E39-297F0AADECB4}"/>
              </a:ext>
            </a:extLst>
          </p:cNvPr>
          <p:cNvSpPr/>
          <p:nvPr/>
        </p:nvSpPr>
        <p:spPr>
          <a:xfrm>
            <a:off x="511174" y="5746749"/>
            <a:ext cx="883661" cy="227013"/>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18" name="Rectangle: Rounded Corners 17">
            <a:extLst>
              <a:ext uri="{FF2B5EF4-FFF2-40B4-BE49-F238E27FC236}">
                <a16:creationId xmlns:a16="http://schemas.microsoft.com/office/drawing/2014/main" id="{AA6BF13C-FB1E-9F91-BE3F-E204D3781769}"/>
              </a:ext>
            </a:extLst>
          </p:cNvPr>
          <p:cNvSpPr/>
          <p:nvPr/>
        </p:nvSpPr>
        <p:spPr>
          <a:xfrm>
            <a:off x="737611" y="4967086"/>
            <a:ext cx="657225" cy="227013"/>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19" name="Rectangle: Rounded Corners 18">
            <a:extLst>
              <a:ext uri="{FF2B5EF4-FFF2-40B4-BE49-F238E27FC236}">
                <a16:creationId xmlns:a16="http://schemas.microsoft.com/office/drawing/2014/main" id="{91EAC3E8-B081-09D3-A1D6-459A61FC729A}"/>
              </a:ext>
            </a:extLst>
          </p:cNvPr>
          <p:cNvSpPr/>
          <p:nvPr/>
        </p:nvSpPr>
        <p:spPr>
          <a:xfrm>
            <a:off x="793750" y="5365953"/>
            <a:ext cx="601086" cy="227013"/>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20" name="Rectangle: Rounded Corners 19">
            <a:extLst>
              <a:ext uri="{FF2B5EF4-FFF2-40B4-BE49-F238E27FC236}">
                <a16:creationId xmlns:a16="http://schemas.microsoft.com/office/drawing/2014/main" id="{00E20A54-558C-FAE4-BCBC-4C23013A2A90}"/>
              </a:ext>
            </a:extLst>
          </p:cNvPr>
          <p:cNvSpPr/>
          <p:nvPr/>
        </p:nvSpPr>
        <p:spPr>
          <a:xfrm>
            <a:off x="1006475" y="4209094"/>
            <a:ext cx="388361" cy="226180"/>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graphicFrame>
        <p:nvGraphicFramePr>
          <p:cNvPr id="50" name="Chart 49">
            <a:extLst>
              <a:ext uri="{FF2B5EF4-FFF2-40B4-BE49-F238E27FC236}">
                <a16:creationId xmlns:a16="http://schemas.microsoft.com/office/drawing/2014/main" id="{29EC30AF-8A4F-DB7D-69CF-8CBEC327A1D8}"/>
              </a:ext>
            </a:extLst>
          </p:cNvPr>
          <p:cNvGraphicFramePr/>
          <p:nvPr>
            <p:custDataLst>
              <p:tags r:id="rId2"/>
            </p:custDataLst>
          </p:nvPr>
        </p:nvGraphicFramePr>
        <p:xfrm>
          <a:off x="1373188" y="2505075"/>
          <a:ext cx="1995487" cy="4006850"/>
        </p:xfrm>
        <a:graphic>
          <a:graphicData uri="http://schemas.openxmlformats.org/drawingml/2006/chart">
            <c:chart xmlns:c="http://schemas.openxmlformats.org/drawingml/2006/chart" xmlns:r="http://schemas.openxmlformats.org/officeDocument/2006/relationships" r:id="rId64"/>
          </a:graphicData>
        </a:graphic>
      </p:graphicFrame>
      <p:sp>
        <p:nvSpPr>
          <p:cNvPr id="24" name="Text Placeholder 2">
            <a:extLst>
              <a:ext uri="{FF2B5EF4-FFF2-40B4-BE49-F238E27FC236}">
                <a16:creationId xmlns:a16="http://schemas.microsoft.com/office/drawing/2014/main" id="{2160608E-5E2F-074F-3FAA-FA1A911EE301}"/>
              </a:ext>
            </a:extLst>
          </p:cNvPr>
          <p:cNvSpPr>
            <a:spLocks noGrp="1"/>
          </p:cNvSpPr>
          <p:nvPr>
            <p:custDataLst>
              <p:tags r:id="rId3"/>
            </p:custDataLst>
          </p:nvPr>
        </p:nvSpPr>
        <p:spPr bwMode="auto">
          <a:xfrm>
            <a:off x="709613" y="2709863"/>
            <a:ext cx="660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FF982F-1340-43A2-81B4-601704D6B50B}" type="datetime'K''''ø''''''b''''e''''''n''''''ha''''''''''''''vn'''''''''">
              <a:rPr lang="da-DK" altLang="en-US" sz="1000" smtClean="0">
                <a:latin typeface="+mn-lt"/>
              </a:rPr>
              <a:pPr marL="0" indent="0" algn="r">
                <a:spcBef>
                  <a:spcPct val="0"/>
                </a:spcBef>
                <a:spcAft>
                  <a:spcPct val="0"/>
                </a:spcAft>
                <a:buNone/>
              </a:pPr>
              <a:t>København</a:t>
            </a:fld>
            <a:endParaRPr lang="da-DK" sz="1000">
              <a:latin typeface="+mn-lt"/>
            </a:endParaRPr>
          </a:p>
        </p:txBody>
      </p:sp>
      <p:sp>
        <p:nvSpPr>
          <p:cNvPr id="27" name="Text Placeholder 2">
            <a:extLst>
              <a:ext uri="{FF2B5EF4-FFF2-40B4-BE49-F238E27FC236}">
                <a16:creationId xmlns:a16="http://schemas.microsoft.com/office/drawing/2014/main" id="{D0BC6ED0-EF2E-2088-A9B8-0D31EE9C3A1A}"/>
              </a:ext>
            </a:extLst>
          </p:cNvPr>
          <p:cNvSpPr>
            <a:spLocks noGrp="1"/>
          </p:cNvSpPr>
          <p:nvPr>
            <p:custDataLst>
              <p:tags r:id="rId4"/>
            </p:custDataLst>
          </p:nvPr>
        </p:nvSpPr>
        <p:spPr bwMode="auto">
          <a:xfrm>
            <a:off x="844550" y="3094038"/>
            <a:ext cx="525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9E7F21-55F4-4F7F-BC38-2F074818B259}" type="datetime'''''G''''''''''''''e''''''''n''t''''''''o''''''f''te'''">
              <a:rPr lang="da-DK" altLang="en-US" sz="1000" smtClean="0">
                <a:latin typeface="+mn-lt"/>
              </a:rPr>
              <a:pPr marL="0" indent="0" algn="r">
                <a:spcBef>
                  <a:spcPct val="0"/>
                </a:spcBef>
                <a:spcAft>
                  <a:spcPct val="0"/>
                </a:spcAft>
                <a:buNone/>
              </a:pPr>
              <a:t>Gentofte</a:t>
            </a:fld>
            <a:endParaRPr lang="da-DK" sz="1000">
              <a:latin typeface="+mn-lt"/>
            </a:endParaRPr>
          </a:p>
        </p:txBody>
      </p:sp>
      <p:sp>
        <p:nvSpPr>
          <p:cNvPr id="30" name="Text Placeholder 2">
            <a:extLst>
              <a:ext uri="{FF2B5EF4-FFF2-40B4-BE49-F238E27FC236}">
                <a16:creationId xmlns:a16="http://schemas.microsoft.com/office/drawing/2014/main" id="{35F105CA-F953-A5C7-F1C4-EAEE42EC8073}"/>
              </a:ext>
            </a:extLst>
          </p:cNvPr>
          <p:cNvSpPr>
            <a:spLocks noGrp="1"/>
          </p:cNvSpPr>
          <p:nvPr>
            <p:custDataLst>
              <p:tags r:id="rId5"/>
            </p:custDataLst>
          </p:nvPr>
        </p:nvSpPr>
        <p:spPr bwMode="auto">
          <a:xfrm>
            <a:off x="573088" y="3478213"/>
            <a:ext cx="796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D57A1DB-2701-4598-B81C-8A1DDA3612AD}" type="datetime'''F''re''''''''''''''d''e''ri''k''''''''''s''b''er''''''g'''">
              <a:rPr lang="da-DK" altLang="en-US" sz="1000" smtClean="0">
                <a:latin typeface="+mn-lt"/>
              </a:rPr>
              <a:pPr marL="0" indent="0" algn="r">
                <a:spcBef>
                  <a:spcPct val="0"/>
                </a:spcBef>
                <a:spcAft>
                  <a:spcPct val="0"/>
                </a:spcAft>
                <a:buNone/>
              </a:pPr>
              <a:t>Frederiksberg</a:t>
            </a:fld>
            <a:endParaRPr lang="da-DK" sz="1000">
              <a:latin typeface="+mn-lt"/>
            </a:endParaRPr>
          </a:p>
        </p:txBody>
      </p:sp>
      <p:sp>
        <p:nvSpPr>
          <p:cNvPr id="33" name="Text Placeholder 2">
            <a:extLst>
              <a:ext uri="{FF2B5EF4-FFF2-40B4-BE49-F238E27FC236}">
                <a16:creationId xmlns:a16="http://schemas.microsoft.com/office/drawing/2014/main" id="{7595938A-770E-7038-050C-6FFD597DB038}"/>
              </a:ext>
            </a:extLst>
          </p:cNvPr>
          <p:cNvSpPr>
            <a:spLocks noGrp="1"/>
          </p:cNvSpPr>
          <p:nvPr>
            <p:custDataLst>
              <p:tags r:id="rId6"/>
            </p:custDataLst>
          </p:nvPr>
        </p:nvSpPr>
        <p:spPr bwMode="auto">
          <a:xfrm>
            <a:off x="706438" y="3862388"/>
            <a:ext cx="663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B9DEDE-35B1-4A99-AF25-2CAD35CEE62C}" type="datetime'''''''''''''''''Al''b''e''''''''r''''t''s''l''''''und'''''">
              <a:rPr lang="da-DK" altLang="en-US" sz="1000" smtClean="0">
                <a:latin typeface="+mn-lt"/>
              </a:rPr>
              <a:pPr marL="0" indent="0" algn="r">
                <a:spcBef>
                  <a:spcPct val="0"/>
                </a:spcBef>
                <a:spcAft>
                  <a:spcPct val="0"/>
                </a:spcAft>
                <a:buNone/>
              </a:pPr>
              <a:t>Albertslund</a:t>
            </a:fld>
            <a:endParaRPr lang="da-DK" sz="1000">
              <a:latin typeface="+mn-lt"/>
            </a:endParaRPr>
          </a:p>
        </p:txBody>
      </p:sp>
      <p:sp>
        <p:nvSpPr>
          <p:cNvPr id="36" name="Text Placeholder 2">
            <a:extLst>
              <a:ext uri="{FF2B5EF4-FFF2-40B4-BE49-F238E27FC236}">
                <a16:creationId xmlns:a16="http://schemas.microsoft.com/office/drawing/2014/main" id="{2FF89A73-60FC-C4BD-84FA-69F566834D77}"/>
              </a:ext>
            </a:extLst>
          </p:cNvPr>
          <p:cNvSpPr>
            <a:spLocks noGrp="1"/>
          </p:cNvSpPr>
          <p:nvPr>
            <p:custDataLst>
              <p:tags r:id="rId7"/>
            </p:custDataLst>
          </p:nvPr>
        </p:nvSpPr>
        <p:spPr bwMode="auto">
          <a:xfrm>
            <a:off x="1055688" y="42465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317B7D-BC08-4AB0-856F-83B589C22AEE}" type="datetime'''''''''''''''''''''''''''''''''''''''''''Læ''''sø'">
              <a:rPr lang="da-DK" altLang="en-US" sz="1000" smtClean="0">
                <a:latin typeface="+mn-lt"/>
              </a:rPr>
              <a:pPr marL="0" indent="0" algn="r">
                <a:spcBef>
                  <a:spcPct val="0"/>
                </a:spcBef>
                <a:spcAft>
                  <a:spcPct val="0"/>
                </a:spcAft>
                <a:buNone/>
              </a:pPr>
              <a:t>Læsø</a:t>
            </a:fld>
            <a:endParaRPr lang="da-DK" sz="1000">
              <a:latin typeface="+mn-lt"/>
            </a:endParaRPr>
          </a:p>
        </p:txBody>
      </p:sp>
      <p:sp>
        <p:nvSpPr>
          <p:cNvPr id="39" name="Text Placeholder 2">
            <a:extLst>
              <a:ext uri="{FF2B5EF4-FFF2-40B4-BE49-F238E27FC236}">
                <a16:creationId xmlns:a16="http://schemas.microsoft.com/office/drawing/2014/main" id="{B37DBC73-0F01-1A56-0905-0BE3B8F693B9}"/>
              </a:ext>
            </a:extLst>
          </p:cNvPr>
          <p:cNvSpPr>
            <a:spLocks noGrp="1"/>
          </p:cNvSpPr>
          <p:nvPr>
            <p:custDataLst>
              <p:tags r:id="rId8"/>
            </p:custDataLst>
          </p:nvPr>
        </p:nvSpPr>
        <p:spPr bwMode="auto">
          <a:xfrm>
            <a:off x="793750" y="4630738"/>
            <a:ext cx="576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9B95D-8042-4EAD-B9BB-A59EE99E7961}" type="datetime'''''''''''''''Ru''der''''''''s''''''''''d''''''''a''''l'">
              <a:rPr lang="da-DK" altLang="en-US" sz="1000" smtClean="0">
                <a:latin typeface="+mn-lt"/>
              </a:rPr>
              <a:pPr marL="0" indent="0" algn="r">
                <a:spcBef>
                  <a:spcPct val="0"/>
                </a:spcBef>
                <a:spcAft>
                  <a:spcPct val="0"/>
                </a:spcAft>
                <a:buNone/>
              </a:pPr>
              <a:t>Rudersdal</a:t>
            </a:fld>
            <a:endParaRPr lang="da-DK" sz="1000">
              <a:latin typeface="+mn-lt"/>
            </a:endParaRPr>
          </a:p>
        </p:txBody>
      </p:sp>
      <p:sp>
        <p:nvSpPr>
          <p:cNvPr id="42" name="Text Placeholder 2">
            <a:extLst>
              <a:ext uri="{FF2B5EF4-FFF2-40B4-BE49-F238E27FC236}">
                <a16:creationId xmlns:a16="http://schemas.microsoft.com/office/drawing/2014/main" id="{565442C0-48F0-38FC-9795-6B0AFA6FD2DD}"/>
              </a:ext>
            </a:extLst>
          </p:cNvPr>
          <p:cNvSpPr>
            <a:spLocks noGrp="1"/>
          </p:cNvSpPr>
          <p:nvPr>
            <p:custDataLst>
              <p:tags r:id="rId9"/>
            </p:custDataLst>
          </p:nvPr>
        </p:nvSpPr>
        <p:spPr bwMode="auto">
          <a:xfrm>
            <a:off x="806450" y="5014913"/>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4B02625-B296-4740-88D6-0A024465CE45}" type="datetime'''''''''''''''''''''''Hø''r''s''h''''ol''''''''''''''''''''m'">
              <a:rPr lang="da-DK" altLang="en-US" sz="1000" smtClean="0">
                <a:latin typeface="+mn-lt"/>
              </a:rPr>
              <a:pPr marL="0" indent="0" algn="r">
                <a:spcBef>
                  <a:spcPct val="0"/>
                </a:spcBef>
                <a:spcAft>
                  <a:spcPct val="0"/>
                </a:spcAft>
                <a:buNone/>
              </a:pPr>
              <a:t>Hørsholm</a:t>
            </a:fld>
            <a:endParaRPr lang="da-DK" sz="1000">
              <a:latin typeface="+mn-lt"/>
            </a:endParaRPr>
          </a:p>
        </p:txBody>
      </p:sp>
      <p:sp>
        <p:nvSpPr>
          <p:cNvPr id="45" name="Text Placeholder 2">
            <a:extLst>
              <a:ext uri="{FF2B5EF4-FFF2-40B4-BE49-F238E27FC236}">
                <a16:creationId xmlns:a16="http://schemas.microsoft.com/office/drawing/2014/main" id="{06A48A27-E2DF-6971-9D2A-FC9DACA5D52C}"/>
              </a:ext>
            </a:extLst>
          </p:cNvPr>
          <p:cNvSpPr>
            <a:spLocks noGrp="1"/>
          </p:cNvSpPr>
          <p:nvPr>
            <p:custDataLst>
              <p:tags r:id="rId10"/>
            </p:custDataLst>
          </p:nvPr>
        </p:nvSpPr>
        <p:spPr bwMode="auto">
          <a:xfrm>
            <a:off x="842963" y="5399088"/>
            <a:ext cx="527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70D102A-85F2-471B-BB94-544C8386FBA6}" type="datetime'''''''''Hv''i''d''''''''''''''''o''''''''''''''''vr''e'''">
              <a:rPr lang="da-DK" altLang="en-US" sz="1000" smtClean="0">
                <a:latin typeface="+mn-lt"/>
              </a:rPr>
              <a:pPr marL="0" indent="0" algn="r">
                <a:spcBef>
                  <a:spcPct val="0"/>
                </a:spcBef>
                <a:spcAft>
                  <a:spcPct val="0"/>
                </a:spcAft>
                <a:buNone/>
              </a:pPr>
              <a:t>Hvidovre</a:t>
            </a:fld>
            <a:endParaRPr lang="da-DK" sz="1000">
              <a:latin typeface="+mn-lt"/>
            </a:endParaRPr>
          </a:p>
        </p:txBody>
      </p:sp>
      <p:sp>
        <p:nvSpPr>
          <p:cNvPr id="48" name="Text Placeholder 2">
            <a:extLst>
              <a:ext uri="{FF2B5EF4-FFF2-40B4-BE49-F238E27FC236}">
                <a16:creationId xmlns:a16="http://schemas.microsoft.com/office/drawing/2014/main" id="{869F1139-112F-61F3-C3AD-BE7BAEAFB108}"/>
              </a:ext>
            </a:extLst>
          </p:cNvPr>
          <p:cNvSpPr>
            <a:spLocks noGrp="1"/>
          </p:cNvSpPr>
          <p:nvPr>
            <p:custDataLst>
              <p:tags r:id="rId11"/>
            </p:custDataLst>
          </p:nvPr>
        </p:nvSpPr>
        <p:spPr bwMode="auto">
          <a:xfrm>
            <a:off x="554038" y="5783263"/>
            <a:ext cx="815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D59F84-23C0-4997-A81F-C28F5BD0544E}" type="datetime'Hø''je-''''''''T''a''''''''a''s''t''''''''''''rup'">
              <a:rPr lang="da-DK" altLang="en-US" sz="1000" smtClean="0">
                <a:latin typeface="+mn-lt"/>
              </a:rPr>
              <a:pPr marL="0" indent="0" algn="r">
                <a:spcBef>
                  <a:spcPct val="0"/>
                </a:spcBef>
                <a:spcAft>
                  <a:spcPct val="0"/>
                </a:spcAft>
                <a:buNone/>
              </a:pPr>
              <a:t>Høje-Taastrup</a:t>
            </a:fld>
            <a:endParaRPr lang="da-DK" sz="1000">
              <a:latin typeface="+mn-lt"/>
            </a:endParaRPr>
          </a:p>
        </p:txBody>
      </p:sp>
      <p:sp>
        <p:nvSpPr>
          <p:cNvPr id="51" name="Text Placeholder 2">
            <a:extLst>
              <a:ext uri="{FF2B5EF4-FFF2-40B4-BE49-F238E27FC236}">
                <a16:creationId xmlns:a16="http://schemas.microsoft.com/office/drawing/2014/main" id="{1B271D83-D84F-BED1-7987-420A04967A80}"/>
              </a:ext>
            </a:extLst>
          </p:cNvPr>
          <p:cNvSpPr>
            <a:spLocks noGrp="1"/>
          </p:cNvSpPr>
          <p:nvPr>
            <p:custDataLst>
              <p:tags r:id="rId12"/>
            </p:custDataLst>
          </p:nvPr>
        </p:nvSpPr>
        <p:spPr bwMode="auto">
          <a:xfrm>
            <a:off x="406400" y="6167438"/>
            <a:ext cx="963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D6CAD7-435A-445A-A253-F0271950800B}" type="datetime'''L''''''''''''''''''y''''''''n''g''''by-T''a''ar''bæ''k'">
              <a:rPr lang="da-DK" altLang="en-US" sz="1000" smtClean="0">
                <a:latin typeface="+mn-lt"/>
              </a:rPr>
              <a:pPr marL="0" indent="0" algn="r">
                <a:spcBef>
                  <a:spcPct val="0"/>
                </a:spcBef>
                <a:spcAft>
                  <a:spcPct val="0"/>
                </a:spcAft>
                <a:buNone/>
              </a:pPr>
              <a:t>Lyngby-Taarbæk</a:t>
            </a:fld>
            <a:endParaRPr lang="da-DK" sz="1000">
              <a:latin typeface="+mn-lt"/>
            </a:endParaRPr>
          </a:p>
        </p:txBody>
      </p:sp>
      <p:sp>
        <p:nvSpPr>
          <p:cNvPr id="5" name="Text Placeholder 2">
            <a:extLst>
              <a:ext uri="{FF2B5EF4-FFF2-40B4-BE49-F238E27FC236}">
                <a16:creationId xmlns:a16="http://schemas.microsoft.com/office/drawing/2014/main" id="{C454F174-8893-4093-442C-49800D244B19}"/>
              </a:ext>
            </a:extLst>
          </p:cNvPr>
          <p:cNvSpPr>
            <a:spLocks noGrp="1"/>
          </p:cNvSpPr>
          <p:nvPr>
            <p:custDataLst>
              <p:tags r:id="rId13"/>
            </p:custDataLst>
          </p:nvPr>
        </p:nvSpPr>
        <p:spPr bwMode="gray">
          <a:xfrm>
            <a:off x="2157413" y="2641600"/>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022082-A56A-478C-ADA7-6A0C2F880742}" type="datetime'''''''''''''''''''''''''''''''''''''9'''',''''0'''''''''''''''">
              <a:rPr lang="en-GB" altLang="en-US" sz="1000" smtClean="0">
                <a:effectLst/>
                <a:latin typeface="+mn-lt"/>
              </a:rPr>
              <a:pPr marL="0" indent="0" algn="ctr">
                <a:spcBef>
                  <a:spcPct val="0"/>
                </a:spcBef>
                <a:spcAft>
                  <a:spcPct val="0"/>
                </a:spcAft>
                <a:buNone/>
              </a:pPr>
              <a:t>9,0</a:t>
            </a:fld>
            <a:endParaRPr lang="en-GB" sz="1000">
              <a:latin typeface="+mn-lt"/>
            </a:endParaRPr>
          </a:p>
        </p:txBody>
      </p:sp>
      <p:sp>
        <p:nvSpPr>
          <p:cNvPr id="13" name="Text Placeholder 2">
            <a:extLst>
              <a:ext uri="{FF2B5EF4-FFF2-40B4-BE49-F238E27FC236}">
                <a16:creationId xmlns:a16="http://schemas.microsoft.com/office/drawing/2014/main" id="{EE2D41E4-619D-3A19-A145-BEC9D65E7BB5}"/>
              </a:ext>
            </a:extLst>
          </p:cNvPr>
          <p:cNvSpPr>
            <a:spLocks noGrp="1"/>
          </p:cNvSpPr>
          <p:nvPr>
            <p:custDataLst>
              <p:tags r:id="rId14"/>
            </p:custDataLst>
          </p:nvPr>
        </p:nvSpPr>
        <p:spPr bwMode="gray">
          <a:xfrm>
            <a:off x="2227263" y="277971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AE09-4BF4-4794-A756-BF02D16120E5}" type="datetime'''''''''''''''''''10'''''''',''''''''''''''''''''''''''2'">
              <a:rPr lang="en-GB" altLang="en-US" sz="1000" smtClean="0">
                <a:effectLst/>
                <a:latin typeface="+mn-lt"/>
              </a:rPr>
              <a:pPr marL="0" indent="0" algn="ctr">
                <a:spcBef>
                  <a:spcPct val="0"/>
                </a:spcBef>
                <a:spcAft>
                  <a:spcPct val="0"/>
                </a:spcAft>
                <a:buNone/>
              </a:pPr>
              <a:t>10,2</a:t>
            </a:fld>
            <a:endParaRPr lang="en-GB" sz="1000">
              <a:latin typeface="+mn-lt"/>
            </a:endParaRPr>
          </a:p>
        </p:txBody>
      </p:sp>
      <p:sp>
        <p:nvSpPr>
          <p:cNvPr id="21" name="Text Placeholder 2">
            <a:extLst>
              <a:ext uri="{FF2B5EF4-FFF2-40B4-BE49-F238E27FC236}">
                <a16:creationId xmlns:a16="http://schemas.microsoft.com/office/drawing/2014/main" id="{3772D4E7-1D19-1739-F02D-DDE56C0B153C}"/>
              </a:ext>
            </a:extLst>
          </p:cNvPr>
          <p:cNvSpPr>
            <a:spLocks noGrp="1"/>
          </p:cNvSpPr>
          <p:nvPr>
            <p:custDataLst>
              <p:tags r:id="rId15"/>
            </p:custDataLst>
          </p:nvPr>
        </p:nvSpPr>
        <p:spPr bwMode="gray">
          <a:xfrm>
            <a:off x="2078038" y="3025775"/>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DFD29-E5C6-4E0F-8BBC-5656158B5846}" type="datetime'''''''''''8'''',''''''''''''''''''''''''''''''1'''''''''''''">
              <a:rPr lang="en-GB" altLang="en-US" sz="1000" smtClean="0">
                <a:effectLst/>
                <a:latin typeface="+mn-lt"/>
              </a:rPr>
              <a:pPr marL="0" indent="0" algn="ctr">
                <a:spcBef>
                  <a:spcPct val="0"/>
                </a:spcBef>
                <a:spcAft>
                  <a:spcPct val="0"/>
                </a:spcAft>
                <a:buNone/>
              </a:pPr>
              <a:t>8,1</a:t>
            </a:fld>
            <a:endParaRPr lang="en-GB" sz="1000">
              <a:latin typeface="+mn-lt"/>
            </a:endParaRPr>
          </a:p>
        </p:txBody>
      </p:sp>
      <p:sp>
        <p:nvSpPr>
          <p:cNvPr id="23" name="Text Placeholder 2">
            <a:extLst>
              <a:ext uri="{FF2B5EF4-FFF2-40B4-BE49-F238E27FC236}">
                <a16:creationId xmlns:a16="http://schemas.microsoft.com/office/drawing/2014/main" id="{5DB42FB4-50C1-48DB-0B02-8C0DCCBA8BAC}"/>
              </a:ext>
            </a:extLst>
          </p:cNvPr>
          <p:cNvSpPr>
            <a:spLocks noGrp="1"/>
          </p:cNvSpPr>
          <p:nvPr>
            <p:custDataLst>
              <p:tags r:id="rId16"/>
            </p:custDataLst>
          </p:nvPr>
        </p:nvSpPr>
        <p:spPr bwMode="gray">
          <a:xfrm>
            <a:off x="2193925" y="3163888"/>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0E50A7-3BDD-48E5-8B80-41DA8A686946}" type="datetime'''''''''''''''''''''''''''''''9'''',''''''4'''''''''''''''">
              <a:rPr lang="en-GB" altLang="en-US" sz="1000" smtClean="0">
                <a:effectLst/>
                <a:latin typeface="+mn-lt"/>
              </a:rPr>
              <a:pPr marL="0" indent="0" algn="ctr">
                <a:spcBef>
                  <a:spcPct val="0"/>
                </a:spcBef>
                <a:spcAft>
                  <a:spcPct val="0"/>
                </a:spcAft>
                <a:buNone/>
              </a:pPr>
              <a:t>9,4</a:t>
            </a:fld>
            <a:endParaRPr lang="en-GB" sz="1000">
              <a:latin typeface="+mn-lt"/>
            </a:endParaRPr>
          </a:p>
        </p:txBody>
      </p:sp>
      <p:sp>
        <p:nvSpPr>
          <p:cNvPr id="25" name="Text Placeholder 2">
            <a:extLst>
              <a:ext uri="{FF2B5EF4-FFF2-40B4-BE49-F238E27FC236}">
                <a16:creationId xmlns:a16="http://schemas.microsoft.com/office/drawing/2014/main" id="{3014E3CC-724E-47AC-CC17-00C7A9BF8007}"/>
              </a:ext>
            </a:extLst>
          </p:cNvPr>
          <p:cNvSpPr>
            <a:spLocks noGrp="1"/>
          </p:cNvSpPr>
          <p:nvPr>
            <p:custDataLst>
              <p:tags r:id="rId17"/>
            </p:custDataLst>
          </p:nvPr>
        </p:nvSpPr>
        <p:spPr bwMode="gray">
          <a:xfrm>
            <a:off x="2032000" y="3409950"/>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D51429-AA9F-4620-AC5D-139E138A0DBC}" type="datetime'''''''''7'''''''''''''',''''''''''''''6'''''''''''''''''''">
              <a:rPr lang="en-GB" altLang="en-US" sz="1000" smtClean="0">
                <a:effectLst/>
                <a:latin typeface="+mn-lt"/>
              </a:rPr>
              <a:pPr marL="0" indent="0" algn="ctr">
                <a:spcBef>
                  <a:spcPct val="0"/>
                </a:spcBef>
                <a:spcAft>
                  <a:spcPct val="0"/>
                </a:spcAft>
                <a:buNone/>
              </a:pPr>
              <a:t>7,6</a:t>
            </a:fld>
            <a:endParaRPr lang="en-GB" sz="1000">
              <a:latin typeface="+mn-lt"/>
            </a:endParaRPr>
          </a:p>
        </p:txBody>
      </p:sp>
      <p:sp>
        <p:nvSpPr>
          <p:cNvPr id="26" name="Text Placeholder 2">
            <a:extLst>
              <a:ext uri="{FF2B5EF4-FFF2-40B4-BE49-F238E27FC236}">
                <a16:creationId xmlns:a16="http://schemas.microsoft.com/office/drawing/2014/main" id="{91C3350B-9B62-D122-876C-54D1F23BBC23}"/>
              </a:ext>
            </a:extLst>
          </p:cNvPr>
          <p:cNvSpPr>
            <a:spLocks noGrp="1"/>
          </p:cNvSpPr>
          <p:nvPr>
            <p:custDataLst>
              <p:tags r:id="rId18"/>
            </p:custDataLst>
          </p:nvPr>
        </p:nvSpPr>
        <p:spPr bwMode="gray">
          <a:xfrm>
            <a:off x="2176463" y="3548063"/>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9B80326-83E2-4E19-8013-152E3254F332}" type="datetime'''''''''''''''''9'''''''''''''''''',2'''''''''''''''''''''''">
              <a:rPr lang="en-GB" altLang="en-US" sz="1000" smtClean="0">
                <a:effectLst/>
                <a:latin typeface="+mn-lt"/>
              </a:rPr>
              <a:pPr marL="0" indent="0" algn="ctr">
                <a:spcBef>
                  <a:spcPct val="0"/>
                </a:spcBef>
                <a:spcAft>
                  <a:spcPct val="0"/>
                </a:spcAft>
                <a:buNone/>
              </a:pPr>
              <a:t>9,2</a:t>
            </a:fld>
            <a:endParaRPr lang="en-GB" sz="1000">
              <a:latin typeface="+mn-lt"/>
            </a:endParaRPr>
          </a:p>
        </p:txBody>
      </p:sp>
      <p:sp>
        <p:nvSpPr>
          <p:cNvPr id="28" name="Text Placeholder 2">
            <a:extLst>
              <a:ext uri="{FF2B5EF4-FFF2-40B4-BE49-F238E27FC236}">
                <a16:creationId xmlns:a16="http://schemas.microsoft.com/office/drawing/2014/main" id="{BDAF0AFC-A1C4-4344-EABE-5E8B1DB5276C}"/>
              </a:ext>
            </a:extLst>
          </p:cNvPr>
          <p:cNvSpPr>
            <a:spLocks noGrp="1"/>
          </p:cNvSpPr>
          <p:nvPr>
            <p:custDataLst>
              <p:tags r:id="rId19"/>
            </p:custDataLst>
          </p:nvPr>
        </p:nvSpPr>
        <p:spPr bwMode="gray">
          <a:xfrm>
            <a:off x="2058988" y="3794125"/>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918990-DB49-4FBA-AE92-D839538FB581}" type="datetime'7,''''9'''''''''''''''''''''''''''''">
              <a:rPr lang="en-GB" altLang="en-US" sz="1000" smtClean="0">
                <a:effectLst/>
                <a:latin typeface="+mn-lt"/>
              </a:rPr>
              <a:pPr marL="0" indent="0" algn="ctr">
                <a:spcBef>
                  <a:spcPct val="0"/>
                </a:spcBef>
                <a:spcAft>
                  <a:spcPct val="0"/>
                </a:spcAft>
                <a:buNone/>
              </a:pPr>
              <a:t>7,9</a:t>
            </a:fld>
            <a:endParaRPr lang="en-GB" sz="1000">
              <a:latin typeface="+mn-lt"/>
            </a:endParaRPr>
          </a:p>
        </p:txBody>
      </p:sp>
      <p:sp>
        <p:nvSpPr>
          <p:cNvPr id="29" name="Text Placeholder 2">
            <a:extLst>
              <a:ext uri="{FF2B5EF4-FFF2-40B4-BE49-F238E27FC236}">
                <a16:creationId xmlns:a16="http://schemas.microsoft.com/office/drawing/2014/main" id="{286B0556-33FF-C361-8303-D7F135802418}"/>
              </a:ext>
            </a:extLst>
          </p:cNvPr>
          <p:cNvSpPr>
            <a:spLocks noGrp="1"/>
          </p:cNvSpPr>
          <p:nvPr>
            <p:custDataLst>
              <p:tags r:id="rId20"/>
            </p:custDataLst>
          </p:nvPr>
        </p:nvSpPr>
        <p:spPr bwMode="gray">
          <a:xfrm>
            <a:off x="2105025" y="3932238"/>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01AFD7-722B-4B2D-94F3-8A61CB088216}" type="datetime'8'''''''''''''''''''''''''''''''',4'''''''">
              <a:rPr lang="en-GB" altLang="en-US" sz="1000" smtClean="0">
                <a:effectLst/>
                <a:latin typeface="+mn-lt"/>
              </a:rPr>
              <a:pPr marL="0" indent="0" algn="ctr">
                <a:spcBef>
                  <a:spcPct val="0"/>
                </a:spcBef>
                <a:spcAft>
                  <a:spcPct val="0"/>
                </a:spcAft>
                <a:buNone/>
              </a:pPr>
              <a:t>8,4</a:t>
            </a:fld>
            <a:endParaRPr lang="en-GB" sz="1000">
              <a:latin typeface="+mn-lt"/>
            </a:endParaRPr>
          </a:p>
        </p:txBody>
      </p:sp>
      <p:sp>
        <p:nvSpPr>
          <p:cNvPr id="31" name="Text Placeholder 2">
            <a:extLst>
              <a:ext uri="{FF2B5EF4-FFF2-40B4-BE49-F238E27FC236}">
                <a16:creationId xmlns:a16="http://schemas.microsoft.com/office/drawing/2014/main" id="{061E9E09-6AC9-5145-228F-2F1644EAE9F9}"/>
              </a:ext>
            </a:extLst>
          </p:cNvPr>
          <p:cNvSpPr>
            <a:spLocks noGrp="1"/>
          </p:cNvSpPr>
          <p:nvPr>
            <p:custDataLst>
              <p:tags r:id="rId21"/>
            </p:custDataLst>
          </p:nvPr>
        </p:nvSpPr>
        <p:spPr bwMode="gray">
          <a:xfrm>
            <a:off x="1709738" y="4178300"/>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8FAEC2-2C5F-4257-905E-90796E20F3C3}" type="datetime'''4'''''''''',''''''''''''''''''''''0'''''''''''''''''">
              <a:rPr lang="en-GB" altLang="en-US" sz="1000" smtClean="0">
                <a:effectLst/>
                <a:latin typeface="+mn-lt"/>
              </a:rPr>
              <a:pPr marL="0" indent="0" algn="ctr">
                <a:spcBef>
                  <a:spcPct val="0"/>
                </a:spcBef>
                <a:spcAft>
                  <a:spcPct val="0"/>
                </a:spcAft>
                <a:buNone/>
              </a:pPr>
              <a:t>4,0</a:t>
            </a:fld>
            <a:endParaRPr lang="en-GB" sz="1000">
              <a:latin typeface="+mn-lt"/>
            </a:endParaRPr>
          </a:p>
        </p:txBody>
      </p:sp>
      <p:sp>
        <p:nvSpPr>
          <p:cNvPr id="32" name="Text Placeholder 2">
            <a:extLst>
              <a:ext uri="{FF2B5EF4-FFF2-40B4-BE49-F238E27FC236}">
                <a16:creationId xmlns:a16="http://schemas.microsoft.com/office/drawing/2014/main" id="{1B54D2AC-D2C6-D564-9E9A-37392DCD8F75}"/>
              </a:ext>
            </a:extLst>
          </p:cNvPr>
          <p:cNvSpPr>
            <a:spLocks noGrp="1"/>
          </p:cNvSpPr>
          <p:nvPr>
            <p:custDataLst>
              <p:tags r:id="rId22"/>
            </p:custDataLst>
          </p:nvPr>
        </p:nvSpPr>
        <p:spPr bwMode="gray">
          <a:xfrm>
            <a:off x="2078038" y="4316413"/>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0E8081-259B-4503-8E0B-EF591C3156AD}" type="datetime'''''''''''''''''''8'''''''''',''''''''''1'''''''''''''''''">
              <a:rPr lang="en-GB" altLang="en-US" sz="1000" smtClean="0">
                <a:effectLst/>
                <a:latin typeface="+mn-lt"/>
              </a:rPr>
              <a:pPr marL="0" indent="0" algn="ctr">
                <a:spcBef>
                  <a:spcPct val="0"/>
                </a:spcBef>
                <a:spcAft>
                  <a:spcPct val="0"/>
                </a:spcAft>
                <a:buNone/>
              </a:pPr>
              <a:t>8,1</a:t>
            </a:fld>
            <a:endParaRPr lang="en-GB" sz="1000">
              <a:latin typeface="+mn-lt"/>
            </a:endParaRPr>
          </a:p>
        </p:txBody>
      </p:sp>
      <p:sp>
        <p:nvSpPr>
          <p:cNvPr id="34" name="Text Placeholder 2">
            <a:extLst>
              <a:ext uri="{FF2B5EF4-FFF2-40B4-BE49-F238E27FC236}">
                <a16:creationId xmlns:a16="http://schemas.microsoft.com/office/drawing/2014/main" id="{825C23BB-59F6-D60F-8404-E7C64CBE1D5F}"/>
              </a:ext>
            </a:extLst>
          </p:cNvPr>
          <p:cNvSpPr>
            <a:spLocks noGrp="1"/>
          </p:cNvSpPr>
          <p:nvPr>
            <p:custDataLst>
              <p:tags r:id="rId23"/>
            </p:custDataLst>
          </p:nvPr>
        </p:nvSpPr>
        <p:spPr bwMode="gray">
          <a:xfrm>
            <a:off x="1970088" y="4562475"/>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D789C7-81E1-4B08-87BA-987F86922DD7}" type="datetime'''''''''''''''''''''6'''''',''''''''''9'''''''">
              <a:rPr lang="en-GB" altLang="en-US" sz="1000" smtClean="0">
                <a:effectLst/>
                <a:latin typeface="+mn-lt"/>
              </a:rPr>
              <a:pPr marL="0" indent="0" algn="ctr">
                <a:spcBef>
                  <a:spcPct val="0"/>
                </a:spcBef>
                <a:spcAft>
                  <a:spcPct val="0"/>
                </a:spcAft>
                <a:buNone/>
              </a:pPr>
              <a:t>6,9</a:t>
            </a:fld>
            <a:endParaRPr lang="en-GB" sz="1000">
              <a:latin typeface="+mn-lt"/>
            </a:endParaRPr>
          </a:p>
        </p:txBody>
      </p:sp>
      <p:sp>
        <p:nvSpPr>
          <p:cNvPr id="35" name="Text Placeholder 2">
            <a:extLst>
              <a:ext uri="{FF2B5EF4-FFF2-40B4-BE49-F238E27FC236}">
                <a16:creationId xmlns:a16="http://schemas.microsoft.com/office/drawing/2014/main" id="{1E52E990-FC8A-C290-9D77-AB990E3189C4}"/>
              </a:ext>
            </a:extLst>
          </p:cNvPr>
          <p:cNvSpPr>
            <a:spLocks noGrp="1"/>
          </p:cNvSpPr>
          <p:nvPr>
            <p:custDataLst>
              <p:tags r:id="rId24"/>
            </p:custDataLst>
          </p:nvPr>
        </p:nvSpPr>
        <p:spPr bwMode="gray">
          <a:xfrm>
            <a:off x="2058988" y="4700588"/>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D1910B-18EA-472A-A697-C35EC7EAA2B8}" type="datetime'7'''''''''''''''''',''''''''''9'''''">
              <a:rPr lang="en-GB" altLang="en-US" sz="1000" smtClean="0">
                <a:effectLst/>
                <a:latin typeface="+mn-lt"/>
              </a:rPr>
              <a:pPr marL="0" indent="0" algn="ctr">
                <a:spcBef>
                  <a:spcPct val="0"/>
                </a:spcBef>
                <a:spcAft>
                  <a:spcPct val="0"/>
                </a:spcAft>
                <a:buNone/>
              </a:pPr>
              <a:t>7,9</a:t>
            </a:fld>
            <a:endParaRPr lang="en-GB" sz="1000">
              <a:latin typeface="+mn-lt"/>
            </a:endParaRPr>
          </a:p>
        </p:txBody>
      </p:sp>
      <p:sp>
        <p:nvSpPr>
          <p:cNvPr id="37" name="Text Placeholder 2">
            <a:extLst>
              <a:ext uri="{FF2B5EF4-FFF2-40B4-BE49-F238E27FC236}">
                <a16:creationId xmlns:a16="http://schemas.microsoft.com/office/drawing/2014/main" id="{8CC98975-F1FD-A128-AB58-6970811119B8}"/>
              </a:ext>
            </a:extLst>
          </p:cNvPr>
          <p:cNvSpPr>
            <a:spLocks noGrp="1"/>
          </p:cNvSpPr>
          <p:nvPr>
            <p:custDataLst>
              <p:tags r:id="rId25"/>
            </p:custDataLst>
          </p:nvPr>
        </p:nvSpPr>
        <p:spPr bwMode="gray">
          <a:xfrm>
            <a:off x="2005013" y="4946650"/>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7E4BD9-1F2E-4787-92F2-8C20E2E648B0}" type="datetime'''7'''''',''''''''''''''''''3'''''''''''''''''''''''''''">
              <a:rPr lang="en-GB" altLang="en-US" sz="1000" smtClean="0">
                <a:effectLst/>
                <a:latin typeface="+mn-lt"/>
              </a:rPr>
              <a:pPr marL="0" indent="0" algn="ctr">
                <a:spcBef>
                  <a:spcPct val="0"/>
                </a:spcBef>
                <a:spcAft>
                  <a:spcPct val="0"/>
                </a:spcAft>
                <a:buNone/>
              </a:pPr>
              <a:t>7,3</a:t>
            </a:fld>
            <a:endParaRPr lang="en-GB" sz="1000">
              <a:latin typeface="+mn-lt"/>
            </a:endParaRPr>
          </a:p>
        </p:txBody>
      </p:sp>
      <p:sp>
        <p:nvSpPr>
          <p:cNvPr id="40" name="Text Placeholder 2">
            <a:extLst>
              <a:ext uri="{FF2B5EF4-FFF2-40B4-BE49-F238E27FC236}">
                <a16:creationId xmlns:a16="http://schemas.microsoft.com/office/drawing/2014/main" id="{DED2A894-A6F9-99CE-B10E-D6331ACFE876}"/>
              </a:ext>
            </a:extLst>
          </p:cNvPr>
          <p:cNvSpPr>
            <a:spLocks noGrp="1"/>
          </p:cNvSpPr>
          <p:nvPr>
            <p:custDataLst>
              <p:tags r:id="rId26"/>
            </p:custDataLst>
          </p:nvPr>
        </p:nvSpPr>
        <p:spPr bwMode="gray">
          <a:xfrm>
            <a:off x="2024063" y="5084763"/>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B53786-E63C-4B65-81E4-16F61D8A9762}" type="datetime'''''7'''''''''''''''''''''''',5'''''''''''''''''''''''''''''''">
              <a:rPr lang="en-GB" altLang="en-US" sz="1000" smtClean="0">
                <a:effectLst/>
                <a:latin typeface="+mn-lt"/>
              </a:rPr>
              <a:pPr marL="0" indent="0" algn="ctr">
                <a:spcBef>
                  <a:spcPct val="0"/>
                </a:spcBef>
                <a:spcAft>
                  <a:spcPct val="0"/>
                </a:spcAft>
                <a:buNone/>
              </a:pPr>
              <a:t>7,5</a:t>
            </a:fld>
            <a:endParaRPr lang="en-GB" sz="1000">
              <a:latin typeface="+mn-lt"/>
            </a:endParaRPr>
          </a:p>
        </p:txBody>
      </p:sp>
      <p:sp>
        <p:nvSpPr>
          <p:cNvPr id="41" name="Text Placeholder 2">
            <a:extLst>
              <a:ext uri="{FF2B5EF4-FFF2-40B4-BE49-F238E27FC236}">
                <a16:creationId xmlns:a16="http://schemas.microsoft.com/office/drawing/2014/main" id="{3CFF13F1-5C89-4D51-ED69-C534CD9168E4}"/>
              </a:ext>
            </a:extLst>
          </p:cNvPr>
          <p:cNvSpPr>
            <a:spLocks noGrp="1"/>
          </p:cNvSpPr>
          <p:nvPr>
            <p:custDataLst>
              <p:tags r:id="rId27"/>
            </p:custDataLst>
          </p:nvPr>
        </p:nvSpPr>
        <p:spPr bwMode="gray">
          <a:xfrm>
            <a:off x="1924050" y="5330825"/>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B26D43-A721-4915-B2A8-9E8A0F463AC6}" type="datetime'''6'''''''',''''''''''''''''''''''''''''''''4'''''''''">
              <a:rPr lang="en-GB" altLang="en-US" sz="1000" smtClean="0">
                <a:effectLst/>
                <a:latin typeface="+mn-lt"/>
              </a:rPr>
              <a:pPr marL="0" indent="0" algn="ctr">
                <a:spcBef>
                  <a:spcPct val="0"/>
                </a:spcBef>
                <a:spcAft>
                  <a:spcPct val="0"/>
                </a:spcAft>
                <a:buNone/>
              </a:pPr>
              <a:t>6,4</a:t>
            </a:fld>
            <a:endParaRPr lang="en-GB" sz="1000">
              <a:latin typeface="+mn-lt"/>
            </a:endParaRPr>
          </a:p>
        </p:txBody>
      </p:sp>
      <p:sp>
        <p:nvSpPr>
          <p:cNvPr id="43" name="Text Placeholder 2">
            <a:extLst>
              <a:ext uri="{FF2B5EF4-FFF2-40B4-BE49-F238E27FC236}">
                <a16:creationId xmlns:a16="http://schemas.microsoft.com/office/drawing/2014/main" id="{08F0A8D5-6213-206D-B580-485BA12A30A0}"/>
              </a:ext>
            </a:extLst>
          </p:cNvPr>
          <p:cNvSpPr>
            <a:spLocks noGrp="1"/>
          </p:cNvSpPr>
          <p:nvPr>
            <p:custDataLst>
              <p:tags r:id="rId28"/>
            </p:custDataLst>
          </p:nvPr>
        </p:nvSpPr>
        <p:spPr bwMode="gray">
          <a:xfrm>
            <a:off x="2005013" y="5468938"/>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36437B-C622-46EE-A28A-973F25E274C9}" type="datetime'''7'''''''''''''''''''''''',''''''3'''''''''''''">
              <a:rPr lang="en-GB" altLang="en-US" sz="1000" smtClean="0">
                <a:effectLst/>
                <a:latin typeface="+mn-lt"/>
              </a:rPr>
              <a:pPr marL="0" indent="0" algn="ctr">
                <a:spcBef>
                  <a:spcPct val="0"/>
                </a:spcBef>
                <a:spcAft>
                  <a:spcPct val="0"/>
                </a:spcAft>
                <a:buNone/>
              </a:pPr>
              <a:t>7,3</a:t>
            </a:fld>
            <a:endParaRPr lang="en-GB" sz="1000">
              <a:latin typeface="+mn-lt"/>
            </a:endParaRPr>
          </a:p>
        </p:txBody>
      </p:sp>
      <p:sp>
        <p:nvSpPr>
          <p:cNvPr id="44" name="Text Placeholder 2">
            <a:extLst>
              <a:ext uri="{FF2B5EF4-FFF2-40B4-BE49-F238E27FC236}">
                <a16:creationId xmlns:a16="http://schemas.microsoft.com/office/drawing/2014/main" id="{710F3CBA-AE18-6D38-D6A7-211A0C8FE0D0}"/>
              </a:ext>
            </a:extLst>
          </p:cNvPr>
          <p:cNvSpPr>
            <a:spLocks noGrp="1"/>
          </p:cNvSpPr>
          <p:nvPr>
            <p:custDataLst>
              <p:tags r:id="rId29"/>
            </p:custDataLst>
          </p:nvPr>
        </p:nvSpPr>
        <p:spPr bwMode="gray">
          <a:xfrm>
            <a:off x="1862138" y="5715000"/>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753280-A076-40D5-9583-CE3D6DCB9126}" type="datetime'''''''''''''''''''''''''''''''''5'',''7'''''">
              <a:rPr lang="en-GB" altLang="en-US" sz="1000" smtClean="0">
                <a:effectLst/>
                <a:latin typeface="+mn-lt"/>
              </a:rPr>
              <a:pPr marL="0" indent="0" algn="ctr">
                <a:spcBef>
                  <a:spcPct val="0"/>
                </a:spcBef>
                <a:spcAft>
                  <a:spcPct val="0"/>
                </a:spcAft>
                <a:buNone/>
              </a:pPr>
              <a:t>5,7</a:t>
            </a:fld>
            <a:endParaRPr lang="en-GB" sz="1000">
              <a:latin typeface="+mn-lt"/>
            </a:endParaRPr>
          </a:p>
        </p:txBody>
      </p:sp>
      <p:sp>
        <p:nvSpPr>
          <p:cNvPr id="46" name="Text Placeholder 2">
            <a:extLst>
              <a:ext uri="{FF2B5EF4-FFF2-40B4-BE49-F238E27FC236}">
                <a16:creationId xmlns:a16="http://schemas.microsoft.com/office/drawing/2014/main" id="{95ACBE5C-41C5-0109-3CB7-5A6EED80044B}"/>
              </a:ext>
            </a:extLst>
          </p:cNvPr>
          <p:cNvSpPr>
            <a:spLocks noGrp="1"/>
          </p:cNvSpPr>
          <p:nvPr>
            <p:custDataLst>
              <p:tags r:id="rId30"/>
            </p:custDataLst>
          </p:nvPr>
        </p:nvSpPr>
        <p:spPr bwMode="gray">
          <a:xfrm>
            <a:off x="2005013" y="5853113"/>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43D733-B9E6-48C1-82C0-033DB95DA30C}" type="datetime'''''''''''7'''''''''''''''''''''''''''',''''''''''''3'''">
              <a:rPr lang="en-GB" altLang="en-US" sz="1000" smtClean="0">
                <a:effectLst/>
                <a:latin typeface="+mn-lt"/>
              </a:rPr>
              <a:pPr marL="0" indent="0" algn="ctr">
                <a:spcBef>
                  <a:spcPct val="0"/>
                </a:spcBef>
                <a:spcAft>
                  <a:spcPct val="0"/>
                </a:spcAft>
                <a:buNone/>
              </a:pPr>
              <a:t>7,3</a:t>
            </a:fld>
            <a:endParaRPr lang="en-GB" sz="1000">
              <a:latin typeface="+mn-lt"/>
            </a:endParaRPr>
          </a:p>
        </p:txBody>
      </p:sp>
      <p:sp>
        <p:nvSpPr>
          <p:cNvPr id="47" name="Text Placeholder 2">
            <a:extLst>
              <a:ext uri="{FF2B5EF4-FFF2-40B4-BE49-F238E27FC236}">
                <a16:creationId xmlns:a16="http://schemas.microsoft.com/office/drawing/2014/main" id="{3F21EE12-B8EC-9351-639F-B2DB32DA890D}"/>
              </a:ext>
            </a:extLst>
          </p:cNvPr>
          <p:cNvSpPr>
            <a:spLocks noGrp="1"/>
          </p:cNvSpPr>
          <p:nvPr>
            <p:custDataLst>
              <p:tags r:id="rId31"/>
            </p:custDataLst>
          </p:nvPr>
        </p:nvSpPr>
        <p:spPr bwMode="gray">
          <a:xfrm>
            <a:off x="2014538" y="6099175"/>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7D4E27-BD93-4B68-9946-505313A8C8E4}" type="datetime'7'''''''''''',''''''''''''''''''''''''''4'''''''''''">
              <a:rPr lang="en-GB" altLang="en-US" sz="1000" smtClean="0">
                <a:effectLst/>
                <a:latin typeface="+mn-lt"/>
              </a:rPr>
              <a:pPr marL="0" indent="0" algn="ctr">
                <a:spcBef>
                  <a:spcPct val="0"/>
                </a:spcBef>
                <a:spcAft>
                  <a:spcPct val="0"/>
                </a:spcAft>
                <a:buNone/>
              </a:pPr>
              <a:t>7,4</a:t>
            </a:fld>
            <a:endParaRPr lang="en-GB" sz="1000">
              <a:latin typeface="+mn-lt"/>
            </a:endParaRPr>
          </a:p>
        </p:txBody>
      </p:sp>
      <p:sp>
        <p:nvSpPr>
          <p:cNvPr id="49" name="Text Placeholder 2">
            <a:extLst>
              <a:ext uri="{FF2B5EF4-FFF2-40B4-BE49-F238E27FC236}">
                <a16:creationId xmlns:a16="http://schemas.microsoft.com/office/drawing/2014/main" id="{87BCF3DD-DDC7-F00B-CD7E-97717127ADAC}"/>
              </a:ext>
            </a:extLst>
          </p:cNvPr>
          <p:cNvSpPr>
            <a:spLocks noGrp="1"/>
          </p:cNvSpPr>
          <p:nvPr>
            <p:custDataLst>
              <p:tags r:id="rId32"/>
            </p:custDataLst>
          </p:nvPr>
        </p:nvSpPr>
        <p:spPr bwMode="gray">
          <a:xfrm>
            <a:off x="2005013" y="6237288"/>
            <a:ext cx="211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1A5098-1AE6-4BE6-9A6A-F79454FFE500}" type="datetime'''''''''7'''''''''''''''''''''''''''''''',''''''''''''''3'''''">
              <a:rPr lang="en-GB" altLang="en-US" sz="1000" smtClean="0">
                <a:effectLst/>
                <a:latin typeface="+mn-lt"/>
              </a:rPr>
              <a:pPr marL="0" indent="0" algn="ctr">
                <a:spcBef>
                  <a:spcPct val="0"/>
                </a:spcBef>
                <a:spcAft>
                  <a:spcPct val="0"/>
                </a:spcAft>
                <a:buNone/>
              </a:pPr>
              <a:t>7,3</a:t>
            </a:fld>
            <a:endParaRPr lang="en-GB" sz="1000">
              <a:latin typeface="+mn-lt"/>
            </a:endParaRPr>
          </a:p>
        </p:txBody>
      </p:sp>
      <p:sp>
        <p:nvSpPr>
          <p:cNvPr id="56" name="Oval 55">
            <a:extLst>
              <a:ext uri="{FF2B5EF4-FFF2-40B4-BE49-F238E27FC236}">
                <a16:creationId xmlns:a16="http://schemas.microsoft.com/office/drawing/2014/main" id="{865FF550-B285-AD2F-3EE0-2E8F1D97166A}"/>
              </a:ext>
            </a:extLst>
          </p:cNvPr>
          <p:cNvSpPr/>
          <p:nvPr/>
        </p:nvSpPr>
        <p:spPr>
          <a:xfrm>
            <a:off x="3994296" y="2671234"/>
            <a:ext cx="509804" cy="215300"/>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6827</a:t>
            </a:r>
          </a:p>
        </p:txBody>
      </p:sp>
      <p:sp>
        <p:nvSpPr>
          <p:cNvPr id="57" name="Oval 56">
            <a:extLst>
              <a:ext uri="{FF2B5EF4-FFF2-40B4-BE49-F238E27FC236}">
                <a16:creationId xmlns:a16="http://schemas.microsoft.com/office/drawing/2014/main" id="{30E13935-EC4A-9FAA-13AD-C8D7CCF43768}"/>
              </a:ext>
            </a:extLst>
          </p:cNvPr>
          <p:cNvSpPr/>
          <p:nvPr/>
        </p:nvSpPr>
        <p:spPr>
          <a:xfrm>
            <a:off x="3994296" y="6126200"/>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428</a:t>
            </a:r>
          </a:p>
        </p:txBody>
      </p:sp>
      <p:sp>
        <p:nvSpPr>
          <p:cNvPr id="58" name="Oval 57">
            <a:extLst>
              <a:ext uri="{FF2B5EF4-FFF2-40B4-BE49-F238E27FC236}">
                <a16:creationId xmlns:a16="http://schemas.microsoft.com/office/drawing/2014/main" id="{3654623F-66F9-1B29-4D39-E51BC04318E5}"/>
              </a:ext>
            </a:extLst>
          </p:cNvPr>
          <p:cNvSpPr/>
          <p:nvPr/>
        </p:nvSpPr>
        <p:spPr>
          <a:xfrm>
            <a:off x="3994296" y="3055996"/>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702</a:t>
            </a:r>
          </a:p>
        </p:txBody>
      </p:sp>
      <p:sp>
        <p:nvSpPr>
          <p:cNvPr id="59" name="Oval 58">
            <a:extLst>
              <a:ext uri="{FF2B5EF4-FFF2-40B4-BE49-F238E27FC236}">
                <a16:creationId xmlns:a16="http://schemas.microsoft.com/office/drawing/2014/main" id="{BA29F555-81B8-6AA8-6A37-188293C147C1}"/>
              </a:ext>
            </a:extLst>
          </p:cNvPr>
          <p:cNvSpPr/>
          <p:nvPr/>
        </p:nvSpPr>
        <p:spPr>
          <a:xfrm>
            <a:off x="3994296" y="3439771"/>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969</a:t>
            </a:r>
          </a:p>
        </p:txBody>
      </p:sp>
      <p:sp>
        <p:nvSpPr>
          <p:cNvPr id="60" name="Oval 59">
            <a:extLst>
              <a:ext uri="{FF2B5EF4-FFF2-40B4-BE49-F238E27FC236}">
                <a16:creationId xmlns:a16="http://schemas.microsoft.com/office/drawing/2014/main" id="{90DCB7F6-AAC0-3DEA-2C6B-E541961CD202}"/>
              </a:ext>
            </a:extLst>
          </p:cNvPr>
          <p:cNvSpPr/>
          <p:nvPr/>
        </p:nvSpPr>
        <p:spPr>
          <a:xfrm>
            <a:off x="3994296" y="3823546"/>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235</a:t>
            </a:r>
          </a:p>
        </p:txBody>
      </p:sp>
      <p:sp>
        <p:nvSpPr>
          <p:cNvPr id="61" name="Oval 60">
            <a:extLst>
              <a:ext uri="{FF2B5EF4-FFF2-40B4-BE49-F238E27FC236}">
                <a16:creationId xmlns:a16="http://schemas.microsoft.com/office/drawing/2014/main" id="{9119FB10-6014-3861-5601-34B7FD2714D0}"/>
              </a:ext>
            </a:extLst>
          </p:cNvPr>
          <p:cNvSpPr/>
          <p:nvPr/>
        </p:nvSpPr>
        <p:spPr>
          <a:xfrm>
            <a:off x="3994296" y="4207321"/>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14</a:t>
            </a:r>
          </a:p>
        </p:txBody>
      </p:sp>
      <p:sp>
        <p:nvSpPr>
          <p:cNvPr id="62" name="Oval 61">
            <a:extLst>
              <a:ext uri="{FF2B5EF4-FFF2-40B4-BE49-F238E27FC236}">
                <a16:creationId xmlns:a16="http://schemas.microsoft.com/office/drawing/2014/main" id="{8BE2AC0A-88B1-F515-BAEA-85789F173368}"/>
              </a:ext>
            </a:extLst>
          </p:cNvPr>
          <p:cNvSpPr/>
          <p:nvPr/>
        </p:nvSpPr>
        <p:spPr>
          <a:xfrm>
            <a:off x="3994296" y="4591096"/>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451</a:t>
            </a:r>
          </a:p>
        </p:txBody>
      </p:sp>
      <p:sp>
        <p:nvSpPr>
          <p:cNvPr id="63" name="Oval 62">
            <a:extLst>
              <a:ext uri="{FF2B5EF4-FFF2-40B4-BE49-F238E27FC236}">
                <a16:creationId xmlns:a16="http://schemas.microsoft.com/office/drawing/2014/main" id="{4AC092BF-42AB-8540-7178-F315B3B118E5}"/>
              </a:ext>
            </a:extLst>
          </p:cNvPr>
          <p:cNvSpPr/>
          <p:nvPr/>
        </p:nvSpPr>
        <p:spPr>
          <a:xfrm>
            <a:off x="3994296" y="4974871"/>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188</a:t>
            </a:r>
          </a:p>
        </p:txBody>
      </p:sp>
      <p:sp>
        <p:nvSpPr>
          <p:cNvPr id="64" name="Oval 63">
            <a:extLst>
              <a:ext uri="{FF2B5EF4-FFF2-40B4-BE49-F238E27FC236}">
                <a16:creationId xmlns:a16="http://schemas.microsoft.com/office/drawing/2014/main" id="{F25FEBB8-7412-08CD-0A79-0847410354FD}"/>
              </a:ext>
            </a:extLst>
          </p:cNvPr>
          <p:cNvSpPr/>
          <p:nvPr/>
        </p:nvSpPr>
        <p:spPr>
          <a:xfrm>
            <a:off x="3994296" y="5358646"/>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394</a:t>
            </a:r>
          </a:p>
        </p:txBody>
      </p:sp>
      <p:sp>
        <p:nvSpPr>
          <p:cNvPr id="65" name="Oval 64">
            <a:extLst>
              <a:ext uri="{FF2B5EF4-FFF2-40B4-BE49-F238E27FC236}">
                <a16:creationId xmlns:a16="http://schemas.microsoft.com/office/drawing/2014/main" id="{F3D6D6F2-EE06-0AC3-F114-54EA6C0A718C}"/>
              </a:ext>
            </a:extLst>
          </p:cNvPr>
          <p:cNvSpPr/>
          <p:nvPr/>
        </p:nvSpPr>
        <p:spPr>
          <a:xfrm>
            <a:off x="3994296" y="5742421"/>
            <a:ext cx="509804" cy="214313"/>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da-DK" sz="1000">
                <a:solidFill>
                  <a:schemeClr val="tx1"/>
                </a:solidFill>
              </a:rPr>
              <a:t>431</a:t>
            </a:r>
          </a:p>
        </p:txBody>
      </p:sp>
      <p:cxnSp>
        <p:nvCxnSpPr>
          <p:cNvPr id="66" name="Straight Connector 65">
            <a:extLst>
              <a:ext uri="{FF2B5EF4-FFF2-40B4-BE49-F238E27FC236}">
                <a16:creationId xmlns:a16="http://schemas.microsoft.com/office/drawing/2014/main" id="{35841FE8-0AC1-5A7F-F704-63E567B00FCC}"/>
              </a:ext>
            </a:extLst>
          </p:cNvPr>
          <p:cNvCxnSpPr>
            <a:cxnSpLocks/>
          </p:cNvCxnSpPr>
          <p:nvPr/>
        </p:nvCxnSpPr>
        <p:spPr>
          <a:xfrm>
            <a:off x="431800" y="2586038"/>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571744D-D334-D197-9778-9F2A620B7CBF}"/>
              </a:ext>
            </a:extLst>
          </p:cNvPr>
          <p:cNvCxnSpPr>
            <a:cxnSpLocks/>
          </p:cNvCxnSpPr>
          <p:nvPr/>
        </p:nvCxnSpPr>
        <p:spPr>
          <a:xfrm>
            <a:off x="431800" y="6424613"/>
            <a:ext cx="4581525" cy="117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0AA3143-7DBB-AA7A-7FA1-A3C0B6670D53}"/>
              </a:ext>
            </a:extLst>
          </p:cNvPr>
          <p:cNvCxnSpPr>
            <a:cxnSpLocks/>
          </p:cNvCxnSpPr>
          <p:nvPr/>
        </p:nvCxnSpPr>
        <p:spPr>
          <a:xfrm>
            <a:off x="431800" y="2970141"/>
            <a:ext cx="4581525" cy="117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A5A62E0-BCE1-0D1B-D137-115A9500171E}"/>
              </a:ext>
            </a:extLst>
          </p:cNvPr>
          <p:cNvCxnSpPr>
            <a:cxnSpLocks/>
          </p:cNvCxnSpPr>
          <p:nvPr/>
        </p:nvCxnSpPr>
        <p:spPr>
          <a:xfrm>
            <a:off x="431800" y="3353835"/>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2E212FC-82FD-67C5-E983-4ABE91E60585}"/>
              </a:ext>
            </a:extLst>
          </p:cNvPr>
          <p:cNvCxnSpPr>
            <a:cxnSpLocks/>
          </p:cNvCxnSpPr>
          <p:nvPr/>
        </p:nvCxnSpPr>
        <p:spPr>
          <a:xfrm>
            <a:off x="431800" y="3738563"/>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8FEAFF8-E287-8E2E-C321-0E9AD677721D}"/>
              </a:ext>
            </a:extLst>
          </p:cNvPr>
          <p:cNvCxnSpPr>
            <a:cxnSpLocks/>
          </p:cNvCxnSpPr>
          <p:nvPr/>
        </p:nvCxnSpPr>
        <p:spPr>
          <a:xfrm>
            <a:off x="431800" y="4121633"/>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1E0F183-4C98-7288-71D5-8BE451AB2AA8}"/>
              </a:ext>
            </a:extLst>
          </p:cNvPr>
          <p:cNvCxnSpPr>
            <a:cxnSpLocks/>
          </p:cNvCxnSpPr>
          <p:nvPr/>
        </p:nvCxnSpPr>
        <p:spPr>
          <a:xfrm>
            <a:off x="431800" y="4505737"/>
            <a:ext cx="4581525" cy="117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C7FB110-2ECB-42A1-BFC9-794E3A97B59E}"/>
              </a:ext>
            </a:extLst>
          </p:cNvPr>
          <p:cNvCxnSpPr>
            <a:cxnSpLocks/>
          </p:cNvCxnSpPr>
          <p:nvPr/>
        </p:nvCxnSpPr>
        <p:spPr>
          <a:xfrm>
            <a:off x="431800" y="4889431"/>
            <a:ext cx="4581525" cy="117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50EFB8B-3422-1CA4-2700-AA3D30C9468C}"/>
              </a:ext>
            </a:extLst>
          </p:cNvPr>
          <p:cNvCxnSpPr>
            <a:cxnSpLocks/>
          </p:cNvCxnSpPr>
          <p:nvPr/>
        </p:nvCxnSpPr>
        <p:spPr>
          <a:xfrm>
            <a:off x="431800" y="5273675"/>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9E7E70E-D748-574A-47CC-06D2C4013338}"/>
              </a:ext>
            </a:extLst>
          </p:cNvPr>
          <p:cNvCxnSpPr>
            <a:cxnSpLocks/>
          </p:cNvCxnSpPr>
          <p:nvPr/>
        </p:nvCxnSpPr>
        <p:spPr>
          <a:xfrm>
            <a:off x="431800" y="5656819"/>
            <a:ext cx="4581525" cy="117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1F358F-EF40-983A-A3D4-1AF985863CA9}"/>
              </a:ext>
            </a:extLst>
          </p:cNvPr>
          <p:cNvCxnSpPr>
            <a:cxnSpLocks/>
          </p:cNvCxnSpPr>
          <p:nvPr/>
        </p:nvCxnSpPr>
        <p:spPr>
          <a:xfrm>
            <a:off x="431800" y="6040513"/>
            <a:ext cx="4581525" cy="158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C90061D-9FA4-7805-8499-B74754BC86D8}"/>
              </a:ext>
            </a:extLst>
          </p:cNvPr>
          <p:cNvSpPr/>
          <p:nvPr>
            <p:custDataLst>
              <p:tags r:id="rId33"/>
            </p:custDataLst>
          </p:nvPr>
        </p:nvSpPr>
        <p:spPr bwMode="auto">
          <a:xfrm>
            <a:off x="482600" y="2295525"/>
            <a:ext cx="179388" cy="133350"/>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Rectangle 84">
            <a:extLst>
              <a:ext uri="{FF2B5EF4-FFF2-40B4-BE49-F238E27FC236}">
                <a16:creationId xmlns:a16="http://schemas.microsoft.com/office/drawing/2014/main" id="{1B12259D-5551-74EC-2816-6C9611116B24}"/>
              </a:ext>
            </a:extLst>
          </p:cNvPr>
          <p:cNvSpPr/>
          <p:nvPr>
            <p:custDataLst>
              <p:tags r:id="rId34"/>
            </p:custDataLst>
          </p:nvPr>
        </p:nvSpPr>
        <p:spPr bwMode="auto">
          <a:xfrm>
            <a:off x="1119188" y="2295525"/>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Text Placeholder 2">
            <a:extLst>
              <a:ext uri="{FF2B5EF4-FFF2-40B4-BE49-F238E27FC236}">
                <a16:creationId xmlns:a16="http://schemas.microsoft.com/office/drawing/2014/main" id="{6DC42B9A-0781-633F-526D-A1C2AF4C56FE}"/>
              </a:ext>
            </a:extLst>
          </p:cNvPr>
          <p:cNvSpPr>
            <a:spLocks noGrp="1"/>
          </p:cNvSpPr>
          <p:nvPr>
            <p:custDataLst>
              <p:tags r:id="rId35"/>
            </p:custDataLst>
          </p:nvPr>
        </p:nvSpPr>
        <p:spPr bwMode="auto">
          <a:xfrm>
            <a:off x="712788" y="23034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F799377-67BE-499B-9629-552320435C99}" type="datetime'''''''''''''''''''''''20''''''''''''''''''''''''''''2''''4'">
              <a:rPr lang="en-GB" altLang="en-US" sz="1000" smtClean="0">
                <a:effectLst/>
                <a:latin typeface="+mn-lt"/>
              </a:rPr>
              <a:pPr marL="0" indent="0">
                <a:spcBef>
                  <a:spcPct val="0"/>
                </a:spcBef>
                <a:spcAft>
                  <a:spcPct val="0"/>
                </a:spcAft>
                <a:buNone/>
              </a:pPr>
              <a:t>2024</a:t>
            </a:fld>
            <a:endParaRPr lang="en-GB" sz="1000">
              <a:latin typeface="+mn-lt"/>
            </a:endParaRPr>
          </a:p>
        </p:txBody>
      </p:sp>
      <p:sp>
        <p:nvSpPr>
          <p:cNvPr id="82" name="Text Placeholder 2">
            <a:extLst>
              <a:ext uri="{FF2B5EF4-FFF2-40B4-BE49-F238E27FC236}">
                <a16:creationId xmlns:a16="http://schemas.microsoft.com/office/drawing/2014/main" id="{E9788944-F844-9149-E08F-011129C83FD1}"/>
              </a:ext>
            </a:extLst>
          </p:cNvPr>
          <p:cNvSpPr>
            <a:spLocks noGrp="1"/>
          </p:cNvSpPr>
          <p:nvPr>
            <p:custDataLst>
              <p:tags r:id="rId36"/>
            </p:custDataLst>
          </p:nvPr>
        </p:nvSpPr>
        <p:spPr bwMode="auto">
          <a:xfrm>
            <a:off x="1349375" y="2303463"/>
            <a:ext cx="304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BB70AA-6005-4E8D-9588-C9B5581EEEB3}" type="datetime'''''''''''202''''''''''''''''''''''''5'''''''''''''">
              <a:rPr lang="en-GB" altLang="en-US" sz="1000" smtClean="0">
                <a:effectLst/>
                <a:latin typeface="+mn-lt"/>
              </a:rPr>
              <a:pPr marL="0" indent="0">
                <a:spcBef>
                  <a:spcPct val="0"/>
                </a:spcBef>
                <a:spcAft>
                  <a:spcPct val="0"/>
                </a:spcAft>
                <a:buNone/>
              </a:pPr>
              <a:t>2025</a:t>
            </a:fld>
            <a:endParaRPr lang="en-GB" sz="1000">
              <a:latin typeface="+mn-lt"/>
            </a:endParaRPr>
          </a:p>
        </p:txBody>
      </p:sp>
      <p:sp>
        <p:nvSpPr>
          <p:cNvPr id="91" name="TextBox 90">
            <a:extLst>
              <a:ext uri="{FF2B5EF4-FFF2-40B4-BE49-F238E27FC236}">
                <a16:creationId xmlns:a16="http://schemas.microsoft.com/office/drawing/2014/main" id="{E979ADC3-7622-B688-4FE6-211013A9E013}"/>
              </a:ext>
            </a:extLst>
          </p:cNvPr>
          <p:cNvSpPr txBox="1"/>
          <p:nvPr/>
        </p:nvSpPr>
        <p:spPr>
          <a:xfrm>
            <a:off x="3514454" y="2187516"/>
            <a:ext cx="1469488" cy="400110"/>
          </a:xfrm>
          <a:prstGeom prst="rect">
            <a:avLst/>
          </a:prstGeom>
          <a:noFill/>
        </p:spPr>
        <p:txBody>
          <a:bodyPr wrap="square" rtlCol="0">
            <a:spAutoFit/>
          </a:bodyPr>
          <a:lstStyle/>
          <a:p>
            <a:pPr algn="ctr"/>
            <a:r>
              <a:rPr lang="da-DK" sz="1000"/>
              <a:t>Total antal nystiftede virksomheder i 2025:</a:t>
            </a:r>
          </a:p>
        </p:txBody>
      </p:sp>
      <p:cxnSp>
        <p:nvCxnSpPr>
          <p:cNvPr id="94" name="Straight Connector 93">
            <a:extLst>
              <a:ext uri="{FF2B5EF4-FFF2-40B4-BE49-F238E27FC236}">
                <a16:creationId xmlns:a16="http://schemas.microsoft.com/office/drawing/2014/main" id="{6F6ABB53-FE35-6D30-69C1-A0C491865CA2}"/>
              </a:ext>
            </a:extLst>
          </p:cNvPr>
          <p:cNvCxnSpPr>
            <a:cxnSpLocks/>
          </p:cNvCxnSpPr>
          <p:nvPr/>
        </p:nvCxnSpPr>
        <p:spPr>
          <a:xfrm>
            <a:off x="5138857" y="2187516"/>
            <a:ext cx="0" cy="422959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6" name="Chart 15">
            <a:extLst>
              <a:ext uri="{FF2B5EF4-FFF2-40B4-BE49-F238E27FC236}">
                <a16:creationId xmlns:a16="http://schemas.microsoft.com/office/drawing/2014/main" id="{432EEBC0-A34C-68FC-4B44-B441ADD22057}"/>
              </a:ext>
            </a:extLst>
          </p:cNvPr>
          <p:cNvGraphicFramePr/>
          <p:nvPr>
            <p:custDataLst>
              <p:tags r:id="rId37"/>
            </p:custDataLst>
          </p:nvPr>
        </p:nvGraphicFramePr>
        <p:xfrm>
          <a:off x="6273800" y="2503488"/>
          <a:ext cx="2314575" cy="4019550"/>
        </p:xfrm>
        <a:graphic>
          <a:graphicData uri="http://schemas.openxmlformats.org/drawingml/2006/chart">
            <c:chart xmlns:c="http://schemas.openxmlformats.org/drawingml/2006/chart" xmlns:r="http://schemas.openxmlformats.org/officeDocument/2006/relationships" r:id="rId65"/>
          </a:graphicData>
        </a:graphic>
      </p:graphicFrame>
      <p:sp>
        <p:nvSpPr>
          <p:cNvPr id="97" name="Text Placeholder 2">
            <a:extLst>
              <a:ext uri="{FF2B5EF4-FFF2-40B4-BE49-F238E27FC236}">
                <a16:creationId xmlns:a16="http://schemas.microsoft.com/office/drawing/2014/main" id="{7C6F49FD-1B02-F1FD-C333-333260179A4F}"/>
              </a:ext>
            </a:extLst>
          </p:cNvPr>
          <p:cNvSpPr>
            <a:spLocks noGrp="1"/>
          </p:cNvSpPr>
          <p:nvPr>
            <p:custDataLst>
              <p:tags r:id="rId38"/>
            </p:custDataLst>
          </p:nvPr>
        </p:nvSpPr>
        <p:spPr bwMode="gray">
          <a:xfrm>
            <a:off x="7246938" y="2709863"/>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477623-691C-4A47-97E5-1C6887297586}" type="datetime'''''''''''''''''1''''0''''''''5''''''''%'''''''''''''''''">
              <a:rPr lang="da-DK" altLang="en-US" sz="1000" smtClean="0">
                <a:latin typeface="+mn-lt"/>
              </a:rPr>
              <a:pPr marL="0" indent="0" algn="ctr">
                <a:spcBef>
                  <a:spcPct val="0"/>
                </a:spcBef>
                <a:spcAft>
                  <a:spcPct val="0"/>
                </a:spcAft>
                <a:buNone/>
              </a:pPr>
              <a:t>105%</a:t>
            </a:fld>
            <a:endParaRPr lang="da-DK" sz="1000">
              <a:latin typeface="+mn-lt"/>
            </a:endParaRPr>
          </a:p>
        </p:txBody>
      </p:sp>
      <p:sp>
        <p:nvSpPr>
          <p:cNvPr id="98" name="Text Placeholder 2">
            <a:extLst>
              <a:ext uri="{FF2B5EF4-FFF2-40B4-BE49-F238E27FC236}">
                <a16:creationId xmlns:a16="http://schemas.microsoft.com/office/drawing/2014/main" id="{FBB351E9-6324-DA84-AFCA-830D073D9E5C}"/>
              </a:ext>
            </a:extLst>
          </p:cNvPr>
          <p:cNvSpPr>
            <a:spLocks noGrp="1"/>
          </p:cNvSpPr>
          <p:nvPr>
            <p:custDataLst>
              <p:tags r:id="rId39"/>
            </p:custDataLst>
          </p:nvPr>
        </p:nvSpPr>
        <p:spPr bwMode="auto">
          <a:xfrm>
            <a:off x="5956300" y="27098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DA5A8DC-1406-4234-A56D-B7D40A964BED}" type="datetime'L''''''''''æ''''''s''''''''''''ø'''''''''''''''''''''''''''">
              <a:rPr lang="da-DK" altLang="en-US" sz="1000" smtClean="0">
                <a:latin typeface="+mn-lt"/>
              </a:rPr>
              <a:pPr marL="0" indent="0" algn="r">
                <a:spcBef>
                  <a:spcPct val="0"/>
                </a:spcBef>
                <a:spcAft>
                  <a:spcPct val="0"/>
                </a:spcAft>
                <a:buNone/>
              </a:pPr>
              <a:t>Læsø</a:t>
            </a:fld>
            <a:endParaRPr lang="da-DK" sz="1000">
              <a:latin typeface="+mn-lt"/>
            </a:endParaRPr>
          </a:p>
        </p:txBody>
      </p:sp>
      <p:sp>
        <p:nvSpPr>
          <p:cNvPr id="99" name="Text Placeholder 2">
            <a:extLst>
              <a:ext uri="{FF2B5EF4-FFF2-40B4-BE49-F238E27FC236}">
                <a16:creationId xmlns:a16="http://schemas.microsoft.com/office/drawing/2014/main" id="{B1BCF9F7-3DF8-A2CE-4365-E31EC66A5CC5}"/>
              </a:ext>
            </a:extLst>
          </p:cNvPr>
          <p:cNvSpPr>
            <a:spLocks noGrp="1"/>
          </p:cNvSpPr>
          <p:nvPr>
            <p:custDataLst>
              <p:tags r:id="rId40"/>
            </p:custDataLst>
          </p:nvPr>
        </p:nvSpPr>
        <p:spPr bwMode="gray">
          <a:xfrm>
            <a:off x="6711950" y="30956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52EE6CE-9BC7-4E70-BAD6-9AFCEC4EC1C7}" type="datetime'''''''''''''''''''''''''''''''''''''''''''''4''''''''''''9%'''">
              <a:rPr lang="da-DK" altLang="en-US" sz="1000" smtClean="0">
                <a:latin typeface="+mn-lt"/>
              </a:rPr>
              <a:pPr marL="0" indent="0" algn="ctr">
                <a:spcBef>
                  <a:spcPct val="0"/>
                </a:spcBef>
                <a:spcAft>
                  <a:spcPct val="0"/>
                </a:spcAft>
                <a:buNone/>
              </a:pPr>
              <a:t>49%</a:t>
            </a:fld>
            <a:endParaRPr lang="da-DK" sz="1000">
              <a:latin typeface="+mn-lt"/>
            </a:endParaRPr>
          </a:p>
        </p:txBody>
      </p:sp>
      <p:sp>
        <p:nvSpPr>
          <p:cNvPr id="100" name="Text Placeholder 2">
            <a:extLst>
              <a:ext uri="{FF2B5EF4-FFF2-40B4-BE49-F238E27FC236}">
                <a16:creationId xmlns:a16="http://schemas.microsoft.com/office/drawing/2014/main" id="{B9241402-2C02-4FF6-3E0C-A305D9769873}"/>
              </a:ext>
            </a:extLst>
          </p:cNvPr>
          <p:cNvSpPr>
            <a:spLocks noGrp="1"/>
          </p:cNvSpPr>
          <p:nvPr>
            <p:custDataLst>
              <p:tags r:id="rId41"/>
            </p:custDataLst>
          </p:nvPr>
        </p:nvSpPr>
        <p:spPr bwMode="auto">
          <a:xfrm>
            <a:off x="5911850" y="3095625"/>
            <a:ext cx="358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B074E3B-D3EC-4BA2-9E22-8B6E7D5385CE}" type="datetime'S''''''''''''''''''''''''''t''''''''''''''''''''r''u''er'''''">
              <a:rPr lang="da-DK" altLang="en-US" sz="1000" smtClean="0">
                <a:latin typeface="+mn-lt"/>
              </a:rPr>
              <a:pPr marL="0" indent="0" algn="r">
                <a:spcBef>
                  <a:spcPct val="0"/>
                </a:spcBef>
                <a:spcAft>
                  <a:spcPct val="0"/>
                </a:spcAft>
                <a:buNone/>
              </a:pPr>
              <a:t>Struer</a:t>
            </a:fld>
            <a:endParaRPr lang="da-DK" sz="1000">
              <a:latin typeface="+mn-lt"/>
            </a:endParaRPr>
          </a:p>
        </p:txBody>
      </p:sp>
      <p:sp>
        <p:nvSpPr>
          <p:cNvPr id="101" name="Text Placeholder 2">
            <a:extLst>
              <a:ext uri="{FF2B5EF4-FFF2-40B4-BE49-F238E27FC236}">
                <a16:creationId xmlns:a16="http://schemas.microsoft.com/office/drawing/2014/main" id="{32295D73-F90F-BB03-B8D7-1DB0C2DFB451}"/>
              </a:ext>
            </a:extLst>
          </p:cNvPr>
          <p:cNvSpPr>
            <a:spLocks noGrp="1"/>
          </p:cNvSpPr>
          <p:nvPr>
            <p:custDataLst>
              <p:tags r:id="rId42"/>
            </p:custDataLst>
          </p:nvPr>
        </p:nvSpPr>
        <p:spPr bwMode="gray">
          <a:xfrm>
            <a:off x="6548438" y="347980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C5142D-3F1B-4492-A189-2ED9D44BD1B9}" type="datetime'''3''''''''''''''''''''''''''3''''''''''%'''''''''''''''''''''">
              <a:rPr lang="da-DK" altLang="en-US" sz="1000" smtClean="0">
                <a:latin typeface="+mn-lt"/>
              </a:rPr>
              <a:pPr marL="0" indent="0" algn="ctr">
                <a:spcBef>
                  <a:spcPct val="0"/>
                </a:spcBef>
                <a:spcAft>
                  <a:spcPct val="0"/>
                </a:spcAft>
                <a:buNone/>
              </a:pPr>
              <a:t>33%</a:t>
            </a:fld>
            <a:endParaRPr lang="da-DK" sz="1000">
              <a:latin typeface="+mn-lt"/>
            </a:endParaRPr>
          </a:p>
        </p:txBody>
      </p:sp>
      <p:sp>
        <p:nvSpPr>
          <p:cNvPr id="102" name="Text Placeholder 2">
            <a:extLst>
              <a:ext uri="{FF2B5EF4-FFF2-40B4-BE49-F238E27FC236}">
                <a16:creationId xmlns:a16="http://schemas.microsoft.com/office/drawing/2014/main" id="{149A3696-AB85-BFDA-2ED0-75DCAC92EEA3}"/>
              </a:ext>
            </a:extLst>
          </p:cNvPr>
          <p:cNvSpPr>
            <a:spLocks noGrp="1"/>
          </p:cNvSpPr>
          <p:nvPr>
            <p:custDataLst>
              <p:tags r:id="rId43"/>
            </p:custDataLst>
          </p:nvPr>
        </p:nvSpPr>
        <p:spPr bwMode="auto">
          <a:xfrm>
            <a:off x="5975350" y="3479800"/>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212A14B-BBCB-4DE6-BEBC-06DC1AAA92ED}" type="datetime'''''''''K''ø''''''''''''''''''''''''''''''''''''ge'''">
              <a:rPr lang="da-DK" altLang="en-US" sz="1000" smtClean="0">
                <a:latin typeface="+mn-lt"/>
              </a:rPr>
              <a:pPr marL="0" indent="0" algn="r">
                <a:spcBef>
                  <a:spcPct val="0"/>
                </a:spcBef>
                <a:spcAft>
                  <a:spcPct val="0"/>
                </a:spcAft>
                <a:buNone/>
              </a:pPr>
              <a:t>Køge</a:t>
            </a:fld>
            <a:endParaRPr lang="da-DK" sz="1000">
              <a:latin typeface="+mn-lt"/>
            </a:endParaRPr>
          </a:p>
        </p:txBody>
      </p:sp>
      <p:sp>
        <p:nvSpPr>
          <p:cNvPr id="103" name="Text Placeholder 2">
            <a:extLst>
              <a:ext uri="{FF2B5EF4-FFF2-40B4-BE49-F238E27FC236}">
                <a16:creationId xmlns:a16="http://schemas.microsoft.com/office/drawing/2014/main" id="{A3519EB6-2B92-5A5E-CF72-10BD4687DC3C}"/>
              </a:ext>
            </a:extLst>
          </p:cNvPr>
          <p:cNvSpPr>
            <a:spLocks noGrp="1"/>
          </p:cNvSpPr>
          <p:nvPr>
            <p:custDataLst>
              <p:tags r:id="rId44"/>
            </p:custDataLst>
          </p:nvPr>
        </p:nvSpPr>
        <p:spPr bwMode="gray">
          <a:xfrm>
            <a:off x="6507163" y="386556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B8611B-88C6-4D5D-AD61-D1B62B0439A6}" type="datetime'''2''''9''''''''''''''''''''%'''''''''''''''''''''''''''''''''">
              <a:rPr lang="da-DK" altLang="en-US" sz="1000" smtClean="0">
                <a:latin typeface="+mn-lt"/>
              </a:rPr>
              <a:pPr marL="0" indent="0" algn="ctr">
                <a:spcBef>
                  <a:spcPct val="0"/>
                </a:spcBef>
                <a:spcAft>
                  <a:spcPct val="0"/>
                </a:spcAft>
                <a:buNone/>
              </a:pPr>
              <a:t>29%</a:t>
            </a:fld>
            <a:endParaRPr lang="da-DK" sz="1000">
              <a:latin typeface="+mn-lt"/>
            </a:endParaRPr>
          </a:p>
        </p:txBody>
      </p:sp>
      <p:sp>
        <p:nvSpPr>
          <p:cNvPr id="104" name="Text Placeholder 2">
            <a:extLst>
              <a:ext uri="{FF2B5EF4-FFF2-40B4-BE49-F238E27FC236}">
                <a16:creationId xmlns:a16="http://schemas.microsoft.com/office/drawing/2014/main" id="{7FAC9162-3DCF-6FCC-E326-B1ED88E71148}"/>
              </a:ext>
            </a:extLst>
          </p:cNvPr>
          <p:cNvSpPr>
            <a:spLocks noGrp="1"/>
          </p:cNvSpPr>
          <p:nvPr>
            <p:custDataLst>
              <p:tags r:id="rId45"/>
            </p:custDataLst>
          </p:nvPr>
        </p:nvSpPr>
        <p:spPr bwMode="auto">
          <a:xfrm>
            <a:off x="5740400" y="3865563"/>
            <a:ext cx="530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DBD2C0B-75CE-49A7-BC05-45A6C8E6CE2F}" type="datetime'''F''av''''''r''''''''s''''''''''''''''k''''''''ov'">
              <a:rPr lang="da-DK" altLang="en-US" sz="1000" smtClean="0">
                <a:latin typeface="+mn-lt"/>
              </a:rPr>
              <a:pPr marL="0" indent="0" algn="r">
                <a:spcBef>
                  <a:spcPct val="0"/>
                </a:spcBef>
                <a:spcAft>
                  <a:spcPct val="0"/>
                </a:spcAft>
                <a:buNone/>
              </a:pPr>
              <a:t>Favrskov</a:t>
            </a:fld>
            <a:endParaRPr lang="da-DK" sz="1000">
              <a:latin typeface="+mn-lt"/>
            </a:endParaRPr>
          </a:p>
        </p:txBody>
      </p:sp>
      <p:sp>
        <p:nvSpPr>
          <p:cNvPr id="105" name="Text Placeholder 2">
            <a:extLst>
              <a:ext uri="{FF2B5EF4-FFF2-40B4-BE49-F238E27FC236}">
                <a16:creationId xmlns:a16="http://schemas.microsoft.com/office/drawing/2014/main" id="{BABC28A2-61F9-6C32-9558-75D0A277B52A}"/>
              </a:ext>
            </a:extLst>
          </p:cNvPr>
          <p:cNvSpPr>
            <a:spLocks noGrp="1"/>
          </p:cNvSpPr>
          <p:nvPr>
            <p:custDataLst>
              <p:tags r:id="rId46"/>
            </p:custDataLst>
          </p:nvPr>
        </p:nvSpPr>
        <p:spPr bwMode="gray">
          <a:xfrm>
            <a:off x="6496050" y="42513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C81433-37D7-48F5-B0A0-D9D9C3157592}" type="datetime'''''''''''''''''''''2''''''''''''''''''''''8''''''''%'''''''">
              <a:rPr lang="da-DK" altLang="en-US" sz="1000" smtClean="0">
                <a:latin typeface="+mn-lt"/>
              </a:rPr>
              <a:pPr marL="0" indent="0" algn="ctr">
                <a:spcBef>
                  <a:spcPct val="0"/>
                </a:spcBef>
                <a:spcAft>
                  <a:spcPct val="0"/>
                </a:spcAft>
                <a:buNone/>
              </a:pPr>
              <a:t>28%</a:t>
            </a:fld>
            <a:endParaRPr lang="da-DK" sz="1000">
              <a:latin typeface="+mn-lt"/>
            </a:endParaRPr>
          </a:p>
        </p:txBody>
      </p:sp>
      <p:sp>
        <p:nvSpPr>
          <p:cNvPr id="106" name="Text Placeholder 2">
            <a:extLst>
              <a:ext uri="{FF2B5EF4-FFF2-40B4-BE49-F238E27FC236}">
                <a16:creationId xmlns:a16="http://schemas.microsoft.com/office/drawing/2014/main" id="{F35F6764-E172-8404-284D-55688F39159D}"/>
              </a:ext>
            </a:extLst>
          </p:cNvPr>
          <p:cNvSpPr>
            <a:spLocks noGrp="1"/>
          </p:cNvSpPr>
          <p:nvPr>
            <p:custDataLst>
              <p:tags r:id="rId47"/>
            </p:custDataLst>
          </p:nvPr>
        </p:nvSpPr>
        <p:spPr bwMode="auto">
          <a:xfrm>
            <a:off x="5680075" y="4251325"/>
            <a:ext cx="590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1D0927-1567-4C05-B354-9B2F4A430F1B}" type="datetime'''''''L''''''a''''''''''''n''''''ge''l''''''a''n''''''''''d'">
              <a:rPr lang="da-DK" altLang="en-US" sz="1000" smtClean="0">
                <a:latin typeface="+mn-lt"/>
              </a:rPr>
              <a:pPr marL="0" indent="0" algn="r">
                <a:spcBef>
                  <a:spcPct val="0"/>
                </a:spcBef>
                <a:spcAft>
                  <a:spcPct val="0"/>
                </a:spcAft>
                <a:buNone/>
              </a:pPr>
              <a:t>Langeland</a:t>
            </a:fld>
            <a:endParaRPr lang="da-DK" sz="1000">
              <a:latin typeface="+mn-lt"/>
            </a:endParaRPr>
          </a:p>
        </p:txBody>
      </p:sp>
      <p:sp>
        <p:nvSpPr>
          <p:cNvPr id="107" name="Text Placeholder 2">
            <a:extLst>
              <a:ext uri="{FF2B5EF4-FFF2-40B4-BE49-F238E27FC236}">
                <a16:creationId xmlns:a16="http://schemas.microsoft.com/office/drawing/2014/main" id="{D89FC167-5BBB-D417-BA7C-B35179EE6A63}"/>
              </a:ext>
            </a:extLst>
          </p:cNvPr>
          <p:cNvSpPr>
            <a:spLocks noGrp="1"/>
          </p:cNvSpPr>
          <p:nvPr>
            <p:custDataLst>
              <p:tags r:id="rId48"/>
            </p:custDataLst>
          </p:nvPr>
        </p:nvSpPr>
        <p:spPr bwMode="gray">
          <a:xfrm>
            <a:off x="6486525" y="46370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20FA07-1767-4BCD-9922-A8961AF65E7E}" type="datetime'''''''''''2''''''''''''''''''''''''''''''7''%'''">
              <a:rPr lang="da-DK" altLang="en-US" sz="1000" smtClean="0">
                <a:latin typeface="+mn-lt"/>
              </a:rPr>
              <a:pPr marL="0" indent="0" algn="ctr">
                <a:spcBef>
                  <a:spcPct val="0"/>
                </a:spcBef>
                <a:spcAft>
                  <a:spcPct val="0"/>
                </a:spcAft>
                <a:buNone/>
              </a:pPr>
              <a:t>27%</a:t>
            </a:fld>
            <a:endParaRPr lang="da-DK" sz="1000">
              <a:latin typeface="+mn-lt"/>
            </a:endParaRPr>
          </a:p>
        </p:txBody>
      </p:sp>
      <p:sp>
        <p:nvSpPr>
          <p:cNvPr id="108" name="Text Placeholder 2">
            <a:extLst>
              <a:ext uri="{FF2B5EF4-FFF2-40B4-BE49-F238E27FC236}">
                <a16:creationId xmlns:a16="http://schemas.microsoft.com/office/drawing/2014/main" id="{CEB02A09-2983-813F-1A3B-086D4CF4EF67}"/>
              </a:ext>
            </a:extLst>
          </p:cNvPr>
          <p:cNvSpPr>
            <a:spLocks noGrp="1"/>
          </p:cNvSpPr>
          <p:nvPr>
            <p:custDataLst>
              <p:tags r:id="rId49"/>
            </p:custDataLst>
          </p:nvPr>
        </p:nvSpPr>
        <p:spPr bwMode="auto">
          <a:xfrm>
            <a:off x="5910263" y="4637088"/>
            <a:ext cx="360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7B71373-341F-43C0-A8DA-8A431B684AE1}" type="datetime'''R''''''e''''''bi''''''''''''''''''''''''''''ld'''''''''''''">
              <a:rPr lang="da-DK" altLang="en-US" sz="1000" smtClean="0">
                <a:latin typeface="+mn-lt"/>
              </a:rPr>
              <a:pPr marL="0" indent="0" algn="r">
                <a:spcBef>
                  <a:spcPct val="0"/>
                </a:spcBef>
                <a:spcAft>
                  <a:spcPct val="0"/>
                </a:spcAft>
                <a:buNone/>
              </a:pPr>
              <a:t>Rebild</a:t>
            </a:fld>
            <a:endParaRPr lang="da-DK" sz="1000">
              <a:latin typeface="+mn-lt"/>
            </a:endParaRPr>
          </a:p>
        </p:txBody>
      </p:sp>
      <p:sp>
        <p:nvSpPr>
          <p:cNvPr id="109" name="Text Placeholder 2">
            <a:extLst>
              <a:ext uri="{FF2B5EF4-FFF2-40B4-BE49-F238E27FC236}">
                <a16:creationId xmlns:a16="http://schemas.microsoft.com/office/drawing/2014/main" id="{9BACD99D-A195-606D-E640-6924AD995F52}"/>
              </a:ext>
            </a:extLst>
          </p:cNvPr>
          <p:cNvSpPr>
            <a:spLocks noGrp="1"/>
          </p:cNvSpPr>
          <p:nvPr>
            <p:custDataLst>
              <p:tags r:id="rId50"/>
            </p:custDataLst>
          </p:nvPr>
        </p:nvSpPr>
        <p:spPr bwMode="gray">
          <a:xfrm>
            <a:off x="6486525" y="50228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07FB8A-6E8A-47A3-B00E-73FA66F9C6C4}" type="datetime'''''''''''''''2''''''''''7''%'''''''''''''''''''">
              <a:rPr lang="da-DK" altLang="en-US" sz="1000" smtClean="0">
                <a:latin typeface="+mn-lt"/>
              </a:rPr>
              <a:pPr marL="0" indent="0" algn="ctr">
                <a:spcBef>
                  <a:spcPct val="0"/>
                </a:spcBef>
                <a:spcAft>
                  <a:spcPct val="0"/>
                </a:spcAft>
                <a:buNone/>
              </a:pPr>
              <a:t>27%</a:t>
            </a:fld>
            <a:endParaRPr lang="da-DK" sz="1000">
              <a:latin typeface="+mn-lt"/>
            </a:endParaRPr>
          </a:p>
        </p:txBody>
      </p:sp>
      <p:sp>
        <p:nvSpPr>
          <p:cNvPr id="110" name="Text Placeholder 2">
            <a:extLst>
              <a:ext uri="{FF2B5EF4-FFF2-40B4-BE49-F238E27FC236}">
                <a16:creationId xmlns:a16="http://schemas.microsoft.com/office/drawing/2014/main" id="{9B75A4E9-808E-EDB6-974D-351FD46886AD}"/>
              </a:ext>
            </a:extLst>
          </p:cNvPr>
          <p:cNvSpPr>
            <a:spLocks noGrp="1"/>
          </p:cNvSpPr>
          <p:nvPr>
            <p:custDataLst>
              <p:tags r:id="rId51"/>
            </p:custDataLst>
          </p:nvPr>
        </p:nvSpPr>
        <p:spPr bwMode="auto">
          <a:xfrm>
            <a:off x="5454650" y="5022850"/>
            <a:ext cx="815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EC6BE8-A50B-476F-9009-6E4A2D7812F9}" type="datetime'''''''Hø''''''''je''''''-''Ta''a''''''''st''''ru''''''''''p'">
              <a:rPr lang="da-DK" altLang="en-US" sz="1000" smtClean="0">
                <a:latin typeface="+mn-lt"/>
              </a:rPr>
              <a:pPr marL="0" indent="0" algn="r">
                <a:spcBef>
                  <a:spcPct val="0"/>
                </a:spcBef>
                <a:spcAft>
                  <a:spcPct val="0"/>
                </a:spcAft>
                <a:buNone/>
              </a:pPr>
              <a:t>Høje-Taastrup</a:t>
            </a:fld>
            <a:endParaRPr lang="da-DK" sz="1000">
              <a:latin typeface="+mn-lt"/>
            </a:endParaRPr>
          </a:p>
        </p:txBody>
      </p:sp>
      <p:sp>
        <p:nvSpPr>
          <p:cNvPr id="111" name="Text Placeholder 2">
            <a:extLst>
              <a:ext uri="{FF2B5EF4-FFF2-40B4-BE49-F238E27FC236}">
                <a16:creationId xmlns:a16="http://schemas.microsoft.com/office/drawing/2014/main" id="{78BB92C5-CF0A-3B71-8AC4-CBE2EF5612C5}"/>
              </a:ext>
            </a:extLst>
          </p:cNvPr>
          <p:cNvSpPr>
            <a:spLocks noGrp="1"/>
          </p:cNvSpPr>
          <p:nvPr>
            <p:custDataLst>
              <p:tags r:id="rId52"/>
            </p:custDataLst>
          </p:nvPr>
        </p:nvSpPr>
        <p:spPr bwMode="gray">
          <a:xfrm>
            <a:off x="6486525" y="54070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93BDC8-735D-49AE-A00D-7BBA1A5858C8}" type="datetime'''''''''''''27''''''''''''''''''''''%'''''''''''''''''''">
              <a:rPr lang="da-DK" altLang="en-US" sz="1000" smtClean="0">
                <a:latin typeface="+mn-lt"/>
              </a:rPr>
              <a:pPr marL="0" indent="0" algn="ctr">
                <a:spcBef>
                  <a:spcPct val="0"/>
                </a:spcBef>
                <a:spcAft>
                  <a:spcPct val="0"/>
                </a:spcAft>
                <a:buNone/>
              </a:pPr>
              <a:t>27%</a:t>
            </a:fld>
            <a:endParaRPr lang="da-DK" sz="1000">
              <a:latin typeface="+mn-lt"/>
            </a:endParaRPr>
          </a:p>
        </p:txBody>
      </p:sp>
      <p:sp>
        <p:nvSpPr>
          <p:cNvPr id="112" name="Text Placeholder 2">
            <a:extLst>
              <a:ext uri="{FF2B5EF4-FFF2-40B4-BE49-F238E27FC236}">
                <a16:creationId xmlns:a16="http://schemas.microsoft.com/office/drawing/2014/main" id="{E3FBBD9C-A03A-C01E-C3EC-0098BEB2F0BB}"/>
              </a:ext>
            </a:extLst>
          </p:cNvPr>
          <p:cNvSpPr>
            <a:spLocks noGrp="1"/>
          </p:cNvSpPr>
          <p:nvPr>
            <p:custDataLst>
              <p:tags r:id="rId53"/>
            </p:custDataLst>
          </p:nvPr>
        </p:nvSpPr>
        <p:spPr bwMode="auto">
          <a:xfrm>
            <a:off x="5322888" y="5407025"/>
            <a:ext cx="947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7186A8-7FD2-4E3F-B00F-BD946B6EF027}" type="datetime'Ves''t''''''''h''''''i''mm''''''''er''l''''a''''''''''''n''d'">
              <a:rPr lang="da-DK" altLang="en-US" sz="1000" smtClean="0">
                <a:latin typeface="+mn-lt"/>
              </a:rPr>
              <a:pPr marL="0" indent="0" algn="r">
                <a:spcBef>
                  <a:spcPct val="0"/>
                </a:spcBef>
                <a:spcAft>
                  <a:spcPct val="0"/>
                </a:spcAft>
                <a:buNone/>
              </a:pPr>
              <a:t>Vesthimmerland</a:t>
            </a:fld>
            <a:endParaRPr lang="da-DK" sz="1000">
              <a:latin typeface="+mn-lt"/>
            </a:endParaRPr>
          </a:p>
        </p:txBody>
      </p:sp>
      <p:sp>
        <p:nvSpPr>
          <p:cNvPr id="113" name="Text Placeholder 2">
            <a:extLst>
              <a:ext uri="{FF2B5EF4-FFF2-40B4-BE49-F238E27FC236}">
                <a16:creationId xmlns:a16="http://schemas.microsoft.com/office/drawing/2014/main" id="{60D6713A-AAD5-E0E0-E1A7-0988A323DB0A}"/>
              </a:ext>
            </a:extLst>
          </p:cNvPr>
          <p:cNvSpPr>
            <a:spLocks noGrp="1"/>
          </p:cNvSpPr>
          <p:nvPr>
            <p:custDataLst>
              <p:tags r:id="rId54"/>
            </p:custDataLst>
          </p:nvPr>
        </p:nvSpPr>
        <p:spPr bwMode="gray">
          <a:xfrm>
            <a:off x="6424613" y="57927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DBA50F-FFBA-4E4B-9531-E96BA5340B0E}" type="datetime'''''''''''''''''2''''''''''''1%'''''''''''''''''''''''''''''''">
              <a:rPr lang="da-DK" altLang="en-US" sz="1000" smtClean="0">
                <a:latin typeface="+mn-lt"/>
              </a:rPr>
              <a:pPr marL="0" indent="0" algn="ctr">
                <a:spcBef>
                  <a:spcPct val="0"/>
                </a:spcBef>
                <a:spcAft>
                  <a:spcPct val="0"/>
                </a:spcAft>
                <a:buNone/>
              </a:pPr>
              <a:t>21%</a:t>
            </a:fld>
            <a:endParaRPr lang="da-DK" sz="1000">
              <a:latin typeface="+mn-lt"/>
            </a:endParaRPr>
          </a:p>
        </p:txBody>
      </p:sp>
      <p:sp>
        <p:nvSpPr>
          <p:cNvPr id="114" name="Text Placeholder 2">
            <a:extLst>
              <a:ext uri="{FF2B5EF4-FFF2-40B4-BE49-F238E27FC236}">
                <a16:creationId xmlns:a16="http://schemas.microsoft.com/office/drawing/2014/main" id="{ECE548AD-FA19-E47F-31AF-0C7BC24D0C61}"/>
              </a:ext>
            </a:extLst>
          </p:cNvPr>
          <p:cNvSpPr>
            <a:spLocks noGrp="1"/>
          </p:cNvSpPr>
          <p:nvPr>
            <p:custDataLst>
              <p:tags r:id="rId55"/>
            </p:custDataLst>
          </p:nvPr>
        </p:nvSpPr>
        <p:spPr bwMode="auto">
          <a:xfrm>
            <a:off x="5741988" y="5792788"/>
            <a:ext cx="528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A506C47-32C0-4060-8DCD-57A8F807B6D9}" type="datetime'''''''G''''''''''l''''a''''''ds''''ax''''''''''''''''''''e'">
              <a:rPr lang="da-DK" altLang="en-US" sz="1000" smtClean="0">
                <a:latin typeface="+mn-lt"/>
              </a:rPr>
              <a:pPr marL="0" indent="0" algn="r">
                <a:spcBef>
                  <a:spcPct val="0"/>
                </a:spcBef>
                <a:spcAft>
                  <a:spcPct val="0"/>
                </a:spcAft>
                <a:buNone/>
              </a:pPr>
              <a:t>Gladsaxe</a:t>
            </a:fld>
            <a:endParaRPr lang="da-DK" sz="1000">
              <a:latin typeface="+mn-lt"/>
            </a:endParaRPr>
          </a:p>
        </p:txBody>
      </p:sp>
      <p:sp>
        <p:nvSpPr>
          <p:cNvPr id="115" name="Text Placeholder 2">
            <a:extLst>
              <a:ext uri="{FF2B5EF4-FFF2-40B4-BE49-F238E27FC236}">
                <a16:creationId xmlns:a16="http://schemas.microsoft.com/office/drawing/2014/main" id="{C4711052-AAF7-1AF0-9210-DE2585BD424F}"/>
              </a:ext>
            </a:extLst>
          </p:cNvPr>
          <p:cNvSpPr>
            <a:spLocks noGrp="1"/>
          </p:cNvSpPr>
          <p:nvPr>
            <p:custDataLst>
              <p:tags r:id="rId56"/>
            </p:custDataLst>
          </p:nvPr>
        </p:nvSpPr>
        <p:spPr bwMode="gray">
          <a:xfrm>
            <a:off x="6424613" y="61785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4FE9E6-FF28-4468-95B5-6EAFB46EF1D7}" type="datetime'''''''''''''''''''''''2''''''''1''%'''''''''''''">
              <a:rPr lang="da-DK" altLang="en-US" sz="1000" smtClean="0">
                <a:latin typeface="+mn-lt"/>
              </a:rPr>
              <a:pPr marL="0" indent="0" algn="ctr">
                <a:spcBef>
                  <a:spcPct val="0"/>
                </a:spcBef>
                <a:spcAft>
                  <a:spcPct val="0"/>
                </a:spcAft>
                <a:buNone/>
              </a:pPr>
              <a:t>21%</a:t>
            </a:fld>
            <a:endParaRPr lang="da-DK" sz="1000">
              <a:latin typeface="+mn-lt"/>
            </a:endParaRPr>
          </a:p>
        </p:txBody>
      </p:sp>
      <p:sp>
        <p:nvSpPr>
          <p:cNvPr id="116" name="Text Placeholder 2">
            <a:extLst>
              <a:ext uri="{FF2B5EF4-FFF2-40B4-BE49-F238E27FC236}">
                <a16:creationId xmlns:a16="http://schemas.microsoft.com/office/drawing/2014/main" id="{3A995536-B641-4790-F16E-3AD55A201D4E}"/>
              </a:ext>
            </a:extLst>
          </p:cNvPr>
          <p:cNvSpPr>
            <a:spLocks noGrp="1"/>
          </p:cNvSpPr>
          <p:nvPr>
            <p:custDataLst>
              <p:tags r:id="rId57"/>
            </p:custDataLst>
          </p:nvPr>
        </p:nvSpPr>
        <p:spPr bwMode="auto">
          <a:xfrm>
            <a:off x="5310188" y="6178550"/>
            <a:ext cx="9604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239BE-FC74-40CA-9452-B031E7395BD8}" type="datetime'Fa''''a''b''o''''''''r''''''''''''''''g-M''i''''d''''tfy''''n'">
              <a:rPr lang="da-DK" altLang="en-US" sz="1000" smtClean="0">
                <a:latin typeface="+mn-lt"/>
              </a:rPr>
              <a:pPr marL="0" indent="0" algn="r">
                <a:spcBef>
                  <a:spcPct val="0"/>
                </a:spcBef>
                <a:spcAft>
                  <a:spcPct val="0"/>
                </a:spcAft>
                <a:buNone/>
              </a:pPr>
              <a:t>Faaborg-Midtfyn</a:t>
            </a:fld>
            <a:endParaRPr lang="da-DK" sz="1000">
              <a:latin typeface="+mn-lt"/>
            </a:endParaRPr>
          </a:p>
        </p:txBody>
      </p:sp>
      <p:sp>
        <p:nvSpPr>
          <p:cNvPr id="117" name="Rectangle 116">
            <a:extLst>
              <a:ext uri="{FF2B5EF4-FFF2-40B4-BE49-F238E27FC236}">
                <a16:creationId xmlns:a16="http://schemas.microsoft.com/office/drawing/2014/main" id="{DA8C5A7E-14BF-71D4-1921-93581567661F}"/>
              </a:ext>
            </a:extLst>
          </p:cNvPr>
          <p:cNvSpPr/>
          <p:nvPr>
            <p:custDataLst>
              <p:tags r:id="rId58"/>
            </p:custDataLst>
          </p:nvPr>
        </p:nvSpPr>
        <p:spPr bwMode="auto">
          <a:xfrm>
            <a:off x="5324475" y="2276475"/>
            <a:ext cx="179388" cy="1333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 name="Text Placeholder 2">
            <a:extLst>
              <a:ext uri="{FF2B5EF4-FFF2-40B4-BE49-F238E27FC236}">
                <a16:creationId xmlns:a16="http://schemas.microsoft.com/office/drawing/2014/main" id="{BE5DEF8B-403E-69D5-F7B6-82423DAD03C0}"/>
              </a:ext>
            </a:extLst>
          </p:cNvPr>
          <p:cNvSpPr>
            <a:spLocks noGrp="1"/>
          </p:cNvSpPr>
          <p:nvPr>
            <p:custDataLst>
              <p:tags r:id="rId59"/>
            </p:custDataLst>
          </p:nvPr>
        </p:nvSpPr>
        <p:spPr bwMode="auto">
          <a:xfrm>
            <a:off x="5554663" y="2284413"/>
            <a:ext cx="1035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lnSpc>
                <a:spcPct val="90000"/>
              </a:lnSpc>
              <a:spcBef>
                <a:spcPts val="1000"/>
              </a:spcBef>
              <a:buFont typeface="Eifont Display" pitchFamily="2" charset="0"/>
              <a:buChar char="•"/>
              <a:defRPr sz="1600" b="0" i="0" kern="1200">
                <a:solidFill>
                  <a:schemeClr val="tx1"/>
                </a:solidFill>
                <a:latin typeface="Eifont" pitchFamily="2" charset="77"/>
                <a:ea typeface="+mn-ea"/>
                <a:cs typeface="+mn-cs"/>
              </a:defRPr>
            </a:lvl1pPr>
            <a:lvl2pPr marL="565150" indent="-342900" algn="l" defTabSz="914400" rtl="0" eaLnBrk="1" latinLnBrk="0" hangingPunct="1">
              <a:lnSpc>
                <a:spcPct val="90000"/>
              </a:lnSpc>
              <a:spcBef>
                <a:spcPts val="500"/>
              </a:spcBef>
              <a:buFont typeface="Eifont Display" pitchFamily="2" charset="0"/>
              <a:buChar char="•"/>
              <a:tabLst>
                <a:tab pos="627063" algn="l"/>
              </a:tabLst>
              <a:defRPr sz="1600" b="0" i="0" kern="1200">
                <a:solidFill>
                  <a:schemeClr val="tx1"/>
                </a:solidFill>
                <a:latin typeface="Eifont" pitchFamily="2" charset="77"/>
                <a:ea typeface="+mn-ea"/>
                <a:cs typeface="+mn-cs"/>
              </a:defRPr>
            </a:lvl2pPr>
            <a:lvl3pPr marL="542925" indent="360363" algn="l" defTabSz="914400" rtl="0" eaLnBrk="1" latinLnBrk="0" hangingPunct="1">
              <a:lnSpc>
                <a:spcPts val="2200"/>
              </a:lnSpc>
              <a:spcBef>
                <a:spcPts val="0"/>
              </a:spcBef>
              <a:buFont typeface="Eifont Display" pitchFamily="2" charset="0"/>
              <a:buChar char="•"/>
              <a:tabLst>
                <a:tab pos="712788" algn="l"/>
              </a:tabLst>
              <a:defRPr sz="1600" b="0" i="0" kern="1200">
                <a:solidFill>
                  <a:schemeClr val="tx1"/>
                </a:solidFill>
                <a:latin typeface="Eifont" pitchFamily="2" charset="77"/>
                <a:ea typeface="+mn-ea"/>
                <a:cs typeface="+mn-cs"/>
              </a:defRPr>
            </a:lvl3pPr>
            <a:lvl4pPr marL="895350" indent="271463" algn="l" defTabSz="914400"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4pPr>
            <a:lvl5pPr marL="1436688" indent="-269875" algn="l" defTabSz="1165225" rtl="0" eaLnBrk="1" latinLnBrk="0" hangingPunct="1">
              <a:lnSpc>
                <a:spcPct val="90000"/>
              </a:lnSpc>
              <a:spcBef>
                <a:spcPts val="500"/>
              </a:spcBef>
              <a:buFont typeface="Eifont Display" pitchFamily="2" charset="0"/>
              <a:buChar char="•"/>
              <a:tabLst/>
              <a:defRPr sz="1600" b="0" i="0" kern="1200">
                <a:solidFill>
                  <a:schemeClr val="tx1"/>
                </a:solidFill>
                <a:latin typeface="Eifon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395531-1882-4F3E-8A71-E65E7FDEFEE7}" type="datetime'''v''æk''s''''''''''t ''''''''2''''''0''''24''-''''202''''5'">
              <a:rPr lang="da-DK" altLang="en-US" sz="1000" smtClean="0">
                <a:latin typeface="+mn-lt"/>
              </a:rPr>
              <a:pPr marL="0" indent="0">
                <a:spcBef>
                  <a:spcPct val="0"/>
                </a:spcBef>
                <a:spcAft>
                  <a:spcPct val="0"/>
                </a:spcAft>
                <a:buNone/>
              </a:pPr>
              <a:t>vækst 2024-2025</a:t>
            </a:fld>
            <a:endParaRPr lang="da-DK" sz="1000">
              <a:latin typeface="+mn-lt"/>
            </a:endParaRPr>
          </a:p>
        </p:txBody>
      </p:sp>
      <p:sp>
        <p:nvSpPr>
          <p:cNvPr id="131" name="Rectangle: Rounded Corners 130">
            <a:extLst>
              <a:ext uri="{FF2B5EF4-FFF2-40B4-BE49-F238E27FC236}">
                <a16:creationId xmlns:a16="http://schemas.microsoft.com/office/drawing/2014/main" id="{3680E912-28C2-B89C-B0A9-70C69F6A17FB}"/>
              </a:ext>
            </a:extLst>
          </p:cNvPr>
          <p:cNvSpPr/>
          <p:nvPr/>
        </p:nvSpPr>
        <p:spPr>
          <a:xfrm>
            <a:off x="1858170" y="2257380"/>
            <a:ext cx="985833" cy="195825"/>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a:solidFill>
                  <a:schemeClr val="tx1"/>
                </a:solidFill>
              </a:rPr>
              <a:t>Nye i top 10</a:t>
            </a:r>
          </a:p>
        </p:txBody>
      </p:sp>
      <p:sp>
        <p:nvSpPr>
          <p:cNvPr id="12" name="TextBox 11">
            <a:extLst>
              <a:ext uri="{FF2B5EF4-FFF2-40B4-BE49-F238E27FC236}">
                <a16:creationId xmlns:a16="http://schemas.microsoft.com/office/drawing/2014/main" id="{1F4CA63B-F2D5-810C-5764-4BDDC970951B}"/>
              </a:ext>
            </a:extLst>
          </p:cNvPr>
          <p:cNvSpPr txBox="1"/>
          <p:nvPr/>
        </p:nvSpPr>
        <p:spPr>
          <a:xfrm>
            <a:off x="10815638" y="6424613"/>
            <a:ext cx="942975" cy="246221"/>
          </a:xfrm>
          <a:prstGeom prst="rect">
            <a:avLst/>
          </a:prstGeom>
          <a:noFill/>
        </p:spPr>
        <p:txBody>
          <a:bodyPr wrap="square" rtlCol="0">
            <a:spAutoFit/>
          </a:bodyPr>
          <a:lstStyle/>
          <a:p>
            <a:pPr algn="r"/>
            <a:r>
              <a:rPr lang="en-GB" sz="1000"/>
              <a:t>8</a:t>
            </a:r>
          </a:p>
        </p:txBody>
      </p:sp>
      <p:sp>
        <p:nvSpPr>
          <p:cNvPr id="54" name="TextBox 53">
            <a:extLst>
              <a:ext uri="{FF2B5EF4-FFF2-40B4-BE49-F238E27FC236}">
                <a16:creationId xmlns:a16="http://schemas.microsoft.com/office/drawing/2014/main" id="{6D3A22E5-2FB6-49E0-4D4A-93757A17F2C1}"/>
              </a:ext>
            </a:extLst>
          </p:cNvPr>
          <p:cNvSpPr txBox="1"/>
          <p:nvPr/>
        </p:nvSpPr>
        <p:spPr>
          <a:xfrm>
            <a:off x="9018588" y="1891526"/>
            <a:ext cx="808876" cy="276999"/>
          </a:xfrm>
          <a:prstGeom prst="rect">
            <a:avLst/>
          </a:prstGeom>
          <a:noFill/>
        </p:spPr>
        <p:txBody>
          <a:bodyPr wrap="none" lIns="0" rtlCol="0">
            <a:spAutoFit/>
          </a:bodyPr>
          <a:lstStyle/>
          <a:p>
            <a:r>
              <a:rPr lang="en-GB" sz="1200" b="1"/>
              <a:t>Highlights</a:t>
            </a:r>
          </a:p>
        </p:txBody>
      </p:sp>
      <p:cxnSp>
        <p:nvCxnSpPr>
          <p:cNvPr id="55" name="Straight Connector 54">
            <a:extLst>
              <a:ext uri="{FF2B5EF4-FFF2-40B4-BE49-F238E27FC236}">
                <a16:creationId xmlns:a16="http://schemas.microsoft.com/office/drawing/2014/main" id="{FC5C0E55-DFE5-DE57-B290-EA98F3B6B977}"/>
              </a:ext>
            </a:extLst>
          </p:cNvPr>
          <p:cNvCxnSpPr>
            <a:cxnSpLocks/>
          </p:cNvCxnSpPr>
          <p:nvPr/>
        </p:nvCxnSpPr>
        <p:spPr>
          <a:xfrm>
            <a:off x="9018588" y="2168525"/>
            <a:ext cx="27400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97D54875-4DDF-E6A1-A75E-F2BB751331CE}"/>
              </a:ext>
            </a:extLst>
          </p:cNvPr>
          <p:cNvSpPr txBox="1"/>
          <p:nvPr/>
        </p:nvSpPr>
        <p:spPr>
          <a:xfrm>
            <a:off x="9036051" y="2168525"/>
            <a:ext cx="2722560" cy="4078286"/>
          </a:xfrm>
          <a:prstGeom prst="rect">
            <a:avLst/>
          </a:prstGeom>
          <a:noFill/>
        </p:spPr>
        <p:txBody>
          <a:bodyPr wrap="square" rtlCol="0">
            <a:noAutofit/>
          </a:bodyPr>
          <a:lstStyle>
            <a:defPPr>
              <a:defRPr lang="en-US"/>
            </a:defPPr>
            <a:lvl1pPr marL="182563" indent="-182563">
              <a:buSzPct val="150000"/>
              <a:buFont typeface="Eifont" pitchFamily="2" charset="0"/>
              <a:buChar char="•"/>
              <a:defRPr sz="1200" b="1"/>
            </a:lvl1pPr>
          </a:lstStyle>
          <a:p>
            <a:r>
              <a:rPr lang="da-DK" sz="1000"/>
              <a:t>Fire nye kommuner i top ti: </a:t>
            </a:r>
            <a:r>
              <a:rPr lang="da-DK" sz="1000" b="0"/>
              <a:t>Ny sammensætning af kommuner med flest nystiftede virksomheder per 1.000 indbyggere.</a:t>
            </a:r>
          </a:p>
          <a:p>
            <a:endParaRPr lang="da-DK" sz="1000"/>
          </a:p>
          <a:p>
            <a:r>
              <a:rPr lang="da-DK" sz="1000"/>
              <a:t>Ingen gengangere: </a:t>
            </a:r>
            <a:r>
              <a:rPr lang="da-DK" sz="1000" b="0"/>
              <a:t>Helt ny liste over kommuner med størst vækst i nystiftede virksomheder per 1.000 indbyggere.</a:t>
            </a:r>
          </a:p>
          <a:p>
            <a:endParaRPr lang="da-DK" sz="1000"/>
          </a:p>
          <a:p>
            <a:r>
              <a:rPr lang="da-DK" sz="1000"/>
              <a:t>Læsø og Høje-Taastrup fremhæves: </a:t>
            </a:r>
            <a:r>
              <a:rPr lang="da-DK" sz="1000" b="0"/>
              <a:t>Begge kommuner har høj vækst og placering på top ti-listen, dog havde Læsø kun 14 nystiftede virksomheder i 2025.</a:t>
            </a:r>
          </a:p>
          <a:p>
            <a:endParaRPr lang="da-DK" sz="1000"/>
          </a:p>
        </p:txBody>
      </p:sp>
      <p:sp>
        <p:nvSpPr>
          <p:cNvPr id="83" name="Rectangle: Rounded Corners 82">
            <a:extLst>
              <a:ext uri="{FF2B5EF4-FFF2-40B4-BE49-F238E27FC236}">
                <a16:creationId xmlns:a16="http://schemas.microsoft.com/office/drawing/2014/main" id="{04C493F4-4779-81B7-672F-B5CB3A0263AC}"/>
              </a:ext>
            </a:extLst>
          </p:cNvPr>
          <p:cNvSpPr/>
          <p:nvPr/>
        </p:nvSpPr>
        <p:spPr>
          <a:xfrm>
            <a:off x="5834042" y="2671234"/>
            <a:ext cx="470907" cy="225529"/>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86" name="Rectangle: Rounded Corners 85">
            <a:extLst>
              <a:ext uri="{FF2B5EF4-FFF2-40B4-BE49-F238E27FC236}">
                <a16:creationId xmlns:a16="http://schemas.microsoft.com/office/drawing/2014/main" id="{67CFCFEB-C934-61F7-FE5C-F6AE690E46FC}"/>
              </a:ext>
            </a:extLst>
          </p:cNvPr>
          <p:cNvSpPr/>
          <p:nvPr/>
        </p:nvSpPr>
        <p:spPr>
          <a:xfrm>
            <a:off x="5834042" y="3056066"/>
            <a:ext cx="470907" cy="225529"/>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87" name="Rectangle: Rounded Corners 86">
            <a:extLst>
              <a:ext uri="{FF2B5EF4-FFF2-40B4-BE49-F238E27FC236}">
                <a16:creationId xmlns:a16="http://schemas.microsoft.com/office/drawing/2014/main" id="{4FAB71B5-AE0F-7C98-1088-9876F600A5D8}"/>
              </a:ext>
            </a:extLst>
          </p:cNvPr>
          <p:cNvSpPr/>
          <p:nvPr/>
        </p:nvSpPr>
        <p:spPr>
          <a:xfrm>
            <a:off x="5911850" y="3440899"/>
            <a:ext cx="393099" cy="225528"/>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88" name="Rectangle: Rounded Corners 87">
            <a:extLst>
              <a:ext uri="{FF2B5EF4-FFF2-40B4-BE49-F238E27FC236}">
                <a16:creationId xmlns:a16="http://schemas.microsoft.com/office/drawing/2014/main" id="{68AD51C3-EE85-A1DE-4FE5-222C11B96866}"/>
              </a:ext>
            </a:extLst>
          </p:cNvPr>
          <p:cNvSpPr/>
          <p:nvPr/>
        </p:nvSpPr>
        <p:spPr>
          <a:xfrm>
            <a:off x="5684838" y="3825730"/>
            <a:ext cx="620111" cy="22542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89" name="Rectangle: Rounded Corners 88">
            <a:extLst>
              <a:ext uri="{FF2B5EF4-FFF2-40B4-BE49-F238E27FC236}">
                <a16:creationId xmlns:a16="http://schemas.microsoft.com/office/drawing/2014/main" id="{C28A1784-C73F-2771-58A2-1F6B91314995}"/>
              </a:ext>
            </a:extLst>
          </p:cNvPr>
          <p:cNvSpPr/>
          <p:nvPr/>
        </p:nvSpPr>
        <p:spPr>
          <a:xfrm>
            <a:off x="5639042" y="4210458"/>
            <a:ext cx="665907" cy="22542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90" name="Rectangle: Rounded Corners 89">
            <a:extLst>
              <a:ext uri="{FF2B5EF4-FFF2-40B4-BE49-F238E27FC236}">
                <a16:creationId xmlns:a16="http://schemas.microsoft.com/office/drawing/2014/main" id="{E8B4630F-0399-5123-923D-E99D88D2B272}"/>
              </a:ext>
            </a:extLst>
          </p:cNvPr>
          <p:cNvSpPr/>
          <p:nvPr/>
        </p:nvSpPr>
        <p:spPr>
          <a:xfrm>
            <a:off x="5773615" y="4595186"/>
            <a:ext cx="531334" cy="21022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92" name="Rectangle: Rounded Corners 91">
            <a:extLst>
              <a:ext uri="{FF2B5EF4-FFF2-40B4-BE49-F238E27FC236}">
                <a16:creationId xmlns:a16="http://schemas.microsoft.com/office/drawing/2014/main" id="{5C5EBE00-E5B6-F45E-61D1-CB87F21E422C}"/>
              </a:ext>
            </a:extLst>
          </p:cNvPr>
          <p:cNvSpPr/>
          <p:nvPr/>
        </p:nvSpPr>
        <p:spPr>
          <a:xfrm>
            <a:off x="5293774" y="5364642"/>
            <a:ext cx="1011176" cy="22542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93" name="Rectangle: Rounded Corners 92">
            <a:extLst>
              <a:ext uri="{FF2B5EF4-FFF2-40B4-BE49-F238E27FC236}">
                <a16:creationId xmlns:a16="http://schemas.microsoft.com/office/drawing/2014/main" id="{4923FB62-01A6-1057-D045-9D8FE587F1DC}"/>
              </a:ext>
            </a:extLst>
          </p:cNvPr>
          <p:cNvSpPr/>
          <p:nvPr/>
        </p:nvSpPr>
        <p:spPr>
          <a:xfrm>
            <a:off x="5380038" y="4979914"/>
            <a:ext cx="924911" cy="241371"/>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95" name="Rectangle: Rounded Corners 94">
            <a:extLst>
              <a:ext uri="{FF2B5EF4-FFF2-40B4-BE49-F238E27FC236}">
                <a16:creationId xmlns:a16="http://schemas.microsoft.com/office/drawing/2014/main" id="{B020F8C7-71D6-B294-DB07-EFDF103DA689}"/>
              </a:ext>
            </a:extLst>
          </p:cNvPr>
          <p:cNvSpPr/>
          <p:nvPr/>
        </p:nvSpPr>
        <p:spPr>
          <a:xfrm>
            <a:off x="5639042" y="5749370"/>
            <a:ext cx="665908" cy="233900"/>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96" name="Rectangle: Rounded Corners 95">
            <a:extLst>
              <a:ext uri="{FF2B5EF4-FFF2-40B4-BE49-F238E27FC236}">
                <a16:creationId xmlns:a16="http://schemas.microsoft.com/office/drawing/2014/main" id="{00F83660-05E0-FBDE-7D9D-16B41BF671F2}"/>
              </a:ext>
            </a:extLst>
          </p:cNvPr>
          <p:cNvSpPr/>
          <p:nvPr/>
        </p:nvSpPr>
        <p:spPr>
          <a:xfrm>
            <a:off x="5293774" y="6134100"/>
            <a:ext cx="1011176" cy="22542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sz="1000">
              <a:solidFill>
                <a:schemeClr val="tx1"/>
              </a:solidFill>
            </a:endParaRPr>
          </a:p>
        </p:txBody>
      </p:sp>
      <p:sp>
        <p:nvSpPr>
          <p:cNvPr id="119" name="Rectangle: Rounded Corners 118">
            <a:extLst>
              <a:ext uri="{FF2B5EF4-FFF2-40B4-BE49-F238E27FC236}">
                <a16:creationId xmlns:a16="http://schemas.microsoft.com/office/drawing/2014/main" id="{E949867D-BC7A-8AD6-EAA5-AE5FE8C2B68E}"/>
              </a:ext>
            </a:extLst>
          </p:cNvPr>
          <p:cNvSpPr/>
          <p:nvPr/>
        </p:nvSpPr>
        <p:spPr>
          <a:xfrm>
            <a:off x="6639720" y="2257380"/>
            <a:ext cx="985833" cy="195825"/>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000">
                <a:solidFill>
                  <a:schemeClr val="tx1"/>
                </a:solidFill>
              </a:rPr>
              <a:t>Nye i top 10</a:t>
            </a:r>
          </a:p>
        </p:txBody>
      </p:sp>
    </p:spTree>
    <p:extLst>
      <p:ext uri="{BB962C8B-B14F-4D97-AF65-F5344CB8AC3E}">
        <p14:creationId xmlns:p14="http://schemas.microsoft.com/office/powerpoint/2010/main" val="158239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8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v8bhk4xOj1OKlwb4hUA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PiuSC3Cs7.sMAyrz2R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LOQTYJO6sh0kRx_D8gNs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ZPfSZhChgzrqg4pVJBv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uWsAGvA1CNplQa5divl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3pbZcxtQV97OI0VBfyhs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_6D1A4BOyNOce.Wa2zZ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6w.LJku184u3CqdvIv3l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2_e03FiEaYml6.jit1N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bvVc8vhZJXiye0ZC9B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B0NIkCNkiZ2q5JZ9S79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pHMZSK9jViA.GEH42vz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YPhx3tqQbHfHcJNabor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fggXmKK5GDbd3ccIK7_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bYIHvknYBFixCSw7c5P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eLvpBp6VVqJGKlbOEcY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w72kOFp0bcpJEgR1AQv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I_Kd_CFHijS3xurk5rIx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Lptm5Adr9IIOhEJGupy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0EQ7pN6VO6Fy0Xec9h6H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z1iacdZLXJo5PfzXExT1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FrJ1naauHkN8pCxUNw1_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xUUy.09cG4RgpzcRrgF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9jXEKjrqn2CpNqoG7Yi5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yYO9C5gPiUkIbcmPmty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zd1tKzXuhR1_IdNsaFA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EkUnhsD43jWp2dPKyrL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IPWxZOCV.syyCGWjbax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TY5Vj8SExnpl0rv02MQ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1hDSEJ4ExofJaWV4DL9_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FeY.Z8_XS3amFuQOF2r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ChgH.hkkFIL4l0AzCuX8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w1da6B_Gi4kX3bOLuNT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7ME2yL8dnI0BnQxUoAYF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_B1eASxoEEZYFepzGLX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apuZq26b0JVz9dtaruP_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QEkcSkREfOJjz6qx5ks1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I1cwOaC760nVrySVLKQ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FV.mSNBzWoLmeIwswOk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PjzHjEVO5fXFR5B4q1e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GYqQ25yEIUnhMHJwTkm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6JT2upcexEZyFPz51ri3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2HFgJL2LIIzrnEtsEnJS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qX099IMpj4AZu4G48Xk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MP1tm1JL4V7cNLGBKZU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xh9dY.TJUs9Xo9RxAJZC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DI99gLsFd_B_XILB4sJ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JxPBv_ThtM.G5kQe2HB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nA3heef_M1u.U5xTyGl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1ETrmGRQUPkPZaV_eDE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UjKxV6lHohdQXB1rANtS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fRKlIaZWjqtjqdAbnvDo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gHokZATfSeckKRRugp_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Dttxx6VF2FT56zISIRW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eQBBLDF.zTvPWUBZsC4u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0xolG9YGOjzX6bxDERY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0eTbTUxadS4mEI.zrbr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1c1zpkopdy88EjawsdV0u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V61N8QeBUzS.sieYk_kd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prKpNxbEFf1DBaeTE2.p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4ciN4pz2LF955BuupxL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pbrbmzTl8r_Rj_fTjFz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TO6Sp9.ZsPnQzm0JYVmi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8yVgOKazbCRfIkpZz1rB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m4zwnFkcHsbIItbzaOTj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WJpumcbDQNU8Nlq1xibn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uzwdx4l1KvsnoLQPAi0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p_uNQIvFNffLnsJJncG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ZkMvaTKaEDcR8Wh.EJ4C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kAiBVKSU_zEGaNYgLFUP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ZqYun0l6n6ol5CrKOst1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XaHpzeInHSR51sHMN1D4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4K.UDOcvK30D2Yb4oSU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3EFgVC2ykVfqVGdG5Gr6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Kis5QWKsdDNguSEz1mQD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nOIHeRzVphpodZpYCo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TNkqux6o_OJXD_xtAIG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d0of079HNRleXynW545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XUpWbCa8WmfVNQxk2HWA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6vx3KNBEROghDeClNcY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tRDbmjQ2_WQfI4SMMwT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waPKz3A9WAafgFQsrXzV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PlJ1Y86o7zc1zv27igc.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LBxfMdyMN0CuVGECSdis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C0dxbz9hrDBWh9G.LtG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47EQzHilEGgpZHrvxA5_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xu42R6OEV9Pco.X9Ua_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jeOHGHlJ95tlfhDjICec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4L7IHeSYgFZkwQIE5niEc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3kJvIsyQkstId_pok2eWJ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29WDMzESKjPV299_n6Uc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9EyAtUB0lFj2DO7ufHUq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o2xCF259MDMOVkS6xPf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6NtpxV65e4XOeCn3QLOE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lOZUfN0lNHx3lo3TpCN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GTMrRcdbi.vCiVrIzZCA3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aAhTaB52Qi9mUDN3uJo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U9XzUy7XKGYF1mF.YkVh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MnKtElVqcnhh9CLcQBm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JBCbYpIBXT3bd03WHN7B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yn9MTrjAQQmN9v3Bctnq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hcrgQnWNTA7VVm0Rh7c1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orxNto1dDqK9GdQaDHK3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0HDfm0QzVmNANRjDMQ_P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B17dfcAMPXH4q0AX6qL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LDWnJzO0ZJWrfB2PZ7Av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TZlh6v6e1dfwexxCWeb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2yGD3NDJgQEF.gMVGGKe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wfg5YO9OUn_839.Jbux5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IXxhflGa_spiLGVVwjp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euotBbSP.tznXLiELdbi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5tBwJV6BLQiaIDKP05F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uNnl2jfTPoCrK1FaEcb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CONTAINEDIMAGEPATH" val="C:\Users\ERSN\AppData\Local\Templafy\AddIns\PowerPointVsto\Data.png"/>
</p:tagLst>
</file>

<file path=ppt/tags/tag219.xml><?xml version="1.0" encoding="utf-8"?>
<p:tagLst xmlns:a="http://schemas.openxmlformats.org/drawingml/2006/main" xmlns:r="http://schemas.openxmlformats.org/officeDocument/2006/relationships" xmlns:p="http://schemas.openxmlformats.org/presentationml/2006/main">
  <p:tag name="CONTAINEDIMAGEPATH" val="C:\Users\ERSN\AppData\Local\Templafy\AddIns\PowerPointVsto\Virksomhed.s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CONTAINEDIMAGEPATH" val="C:\Users\ERSN\AppData\Local\Templafy\AddIns\PowerPointVsto\Kreditvurdering.pn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CONTAINEDIMAGEPATH" val="C:\Users\idda\AppData\Local\Templafy\AddIns\PowerPointVsto\396ca6b9-44e1-4a75-a67b-d88fdfd22c0b.jp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CONTAINEDIMAGEPATH" val="C:\Users\idda\AppData\Local\Templafy\AddIns\PowerPointVsto\2e081209-45d1-47ef-af68-c6bbb85b1e22.jp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ONTAINEDIMAGEPATH" val="C:\Users\juch\AppData\Local\Templafy\AddIns\PowerPointVsto\Grøn-omstilling-Bæredygtighed.p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eXBvLLOTo_v_nRsIF1m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g.CejCzPC9jR1SCfl4c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E1uv7K3BOC8BROxevtI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N6u2x3Z5YhkgMdG6wlS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EoERV7twc8Dp2eTlCk0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wb4Z5BIeUZiQwm4ePwh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qjZhKYAQRYs7po1xNd3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GXI.zI5FwJV.OsncE_N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pTf7OA4IwERNjBx35Qy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s_hYJHs9uLh.YNYW3DA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qPmLCKcTtp3poLrwbuV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UbzNEXySdbBJnFiw_Uu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td2TgesFWcPLP5iTzfO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R6HHPR38AbaKnQovdIe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bHlNg3NbFn1zNx9XTji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uR4MHU0KDFs45t2NBk9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gZNwFJJZFeywbD6F1jb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sxCbe7vNGG1kWkTB7lj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mi4fjJqJeax_lk5gUEG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Ho4Q7TeCDkWwMM71YJLr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imditRwq_MzCPk8FtMI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L9pXqMvMpRXlQnvIjnB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o8O4w5XW7E6IeXMyd6V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OLUjX.pLRx_NQi.zZyM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ojHwgGhMKhKWESkja0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VVdvjELygeLZa9ofMP0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UUngmOT582mooYwWw8R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ITCDUIkwHQhW_9dMbyO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sWGG5XZafoJo4k5Ow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JwwXHWzGwqg5oALIsGP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maIIuwjhQIepPnJJIWF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HbL7OyVynRCFfmKaXhy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tDOq33C5jx4MtcClvKh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aXQ2D2wOIwNkSB0oms_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teAFdELEX9dOCPsbC1C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B79SfzGZpy8rCsh3SVrM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TBN9uJTEsm7grHAquTd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wWp28EW7pcvRFouQHh5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Qs_.XFCCFUgtwjBuvTi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fFZswW2QuP7gucssbGZ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kJvXoPBxzPxhC.LAkkQ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gk10vsmlI6zlNoUwWuu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ee2jm0KzXAhiyMckx2h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3AlsCnPhGH8oNiLEynp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VKsYQSHmQO0ZeMjS64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9z1Nt0H4iArDNL5Wqqv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OYWlaxGF.nFB7YlSJV7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AygTIToE61l95rbqWYbJ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j0TyxYkFEiuKdkvjais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zqiNfTMMTeL1memqwAX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MGhE5vR8LDfl_IwS01u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RFxGlIH3DKBs.nchAG4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By72Fjwie5tbBwLTKj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rofJUA8cV2w8_ICrhFz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jpTvW.F0CJR5IP_6iIY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jPGozN0IH1.HbY_bED_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rydUdD2pcv6r1OraHru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aniFRNEHxLx7HQUIgcc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Dog0eJWPAtYtlfew860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VuaN8lMszgfA4vYAGwK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gIl7T7xj0aCHSeL_hAaq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c00pH3ZD6PHPR2jNuTDP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KKQDezHrIojPQHN63eO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XthMsiU0S9mK2DMbjgt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3uF2JjHjokYWk_N8_VZ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BQH0A3VrVmLSyavWfSb8Q"/>
</p:tagLst>
</file>

<file path=ppt/theme/theme1.xml><?xml version="1.0" encoding="utf-8"?>
<a:theme xmlns:a="http://schemas.openxmlformats.org/drawingml/2006/main" name="Office-tema">
  <a:themeElements>
    <a:clrScheme name="EIFO">
      <a:dk1>
        <a:srgbClr val="121212"/>
      </a:dk1>
      <a:lt1>
        <a:srgbClr val="FFFFFF"/>
      </a:lt1>
      <a:dk2>
        <a:srgbClr val="4E644B"/>
      </a:dk2>
      <a:lt2>
        <a:srgbClr val="EBEBD7"/>
      </a:lt2>
      <a:accent1>
        <a:srgbClr val="AFC0AA"/>
      </a:accent1>
      <a:accent2>
        <a:srgbClr val="EBEBD7"/>
      </a:accent2>
      <a:accent3>
        <a:srgbClr val="4E644B"/>
      </a:accent3>
      <a:accent4>
        <a:srgbClr val="FFE18C"/>
      </a:accent4>
      <a:accent5>
        <a:srgbClr val="234432"/>
      </a:accent5>
      <a:accent6>
        <a:srgbClr val="F0F8F5"/>
      </a:accent6>
      <a:hlink>
        <a:srgbClr val="66F58A"/>
      </a:hlink>
      <a:folHlink>
        <a:srgbClr val="4D4D4D"/>
      </a:folHlink>
    </a:clrScheme>
    <a:fontScheme name="EIFO">
      <a:majorFont>
        <a:latin typeface="Eifont Display"/>
        <a:ea typeface=""/>
        <a:cs typeface=""/>
      </a:majorFont>
      <a:minorFont>
        <a:latin typeface="Eifon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FO - PowerPoint-skabelon - M. Vejledning_v1.03" id="{EBB24618-B607-483A-9EC0-5A274B252CE6}" vid="{502F9386-B91C-444A-92C7-AF806ADE2DD2}"/>
    </a:ext>
  </a:extLst>
</a:theme>
</file>

<file path=ppt/theme/theme2.xml><?xml version="1.0" encoding="utf-8"?>
<a:theme xmlns:a="http://schemas.openxmlformats.org/drawingml/2006/main" name="1_Office-tema">
  <a:themeElements>
    <a:clrScheme name="EIFO">
      <a:dk1>
        <a:srgbClr val="121212"/>
      </a:dk1>
      <a:lt1>
        <a:srgbClr val="FFFFFF"/>
      </a:lt1>
      <a:dk2>
        <a:srgbClr val="4E644B"/>
      </a:dk2>
      <a:lt2>
        <a:srgbClr val="EBEBD7"/>
      </a:lt2>
      <a:accent1>
        <a:srgbClr val="AFC0AA"/>
      </a:accent1>
      <a:accent2>
        <a:srgbClr val="EBEBD7"/>
      </a:accent2>
      <a:accent3>
        <a:srgbClr val="4E644B"/>
      </a:accent3>
      <a:accent4>
        <a:srgbClr val="FFE18C"/>
      </a:accent4>
      <a:accent5>
        <a:srgbClr val="234432"/>
      </a:accent5>
      <a:accent6>
        <a:srgbClr val="F0F8F5"/>
      </a:accent6>
      <a:hlink>
        <a:srgbClr val="66F58A"/>
      </a:hlink>
      <a:folHlink>
        <a:srgbClr val="4D4D4D"/>
      </a:folHlink>
    </a:clrScheme>
    <a:fontScheme name="EIFO">
      <a:majorFont>
        <a:latin typeface="Eifont Display"/>
        <a:ea typeface=""/>
        <a:cs typeface=""/>
      </a:majorFont>
      <a:minorFont>
        <a:latin typeface="Eifon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ctr"/>
      <a:lstStyle>
        <a:defPPr algn="ctr">
          <a:defRPr dirty="0" err="1"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IFO - PowerPoint-skabelon - M. Vejledning_v1.03" id="{EBB24618-B607-483A-9EC0-5A274B252CE6}" vid="{502F9386-B91C-444A-92C7-AF806ADE2DD2}"/>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FormConfiguration><![CDATA[{"formFields":[],"formDataEntries":[]}]]></TemplafyFormConfiguration>
</file>

<file path=customXml/item3.xml><?xml version="1.0" encoding="utf-8"?>
<TemplafyTemplateConfiguration><![CDATA[{"elementsMetadata":[],"transformationConfigurations":[],"templateName":"EIFO PowerPoint Skabelon_v1.07","templateDescription":"","enableDocumentContentUpdater":false,"version":"2.0"}]]></TemplafyTemplateConfiguration>
</file>

<file path=customXml/item4.xml><?xml version="1.0" encoding="utf-8"?>
<p:properties xmlns:p="http://schemas.microsoft.com/office/2006/metadata/properties" xmlns:xsi="http://www.w3.org/2001/XMLSchema-instance" xmlns:pc="http://schemas.microsoft.com/office/infopath/2007/PartnerControls">
  <documentManagement>
    <TaxCatchAll xmlns="f0b3eb1c-1b7b-4139-bf4c-3b4ee139183e" xsi:nil="true"/>
    <lcf76f155ced4ddcb4097134ff3c332f xmlns="59aa86d4-8482-4e7d-8192-67f82c1f2d36">
      <Terms xmlns="http://schemas.microsoft.com/office/infopath/2007/PartnerControls"/>
    </lcf76f155ced4ddcb4097134ff3c332f>
  </documentManagement>
</p:properties>
</file>

<file path=customXml/item5.xml><?xml version="1.0" encoding="utf-8"?>
<ct:contentTypeSchema xmlns:ct="http://schemas.microsoft.com/office/2006/metadata/contentType" xmlns:ma="http://schemas.microsoft.com/office/2006/metadata/properties/metaAttributes" ct:_="" ma:_="" ma:contentTypeName="Dokument" ma:contentTypeID="0x0101003A04EE7DCD327643A1E2B726EEB2C8D4" ma:contentTypeVersion="13" ma:contentTypeDescription="Opret et nyt dokument." ma:contentTypeScope="" ma:versionID="2e2dbf1e83c55850be4b8c830ca4a6c4">
  <xsd:schema xmlns:xsd="http://www.w3.org/2001/XMLSchema" xmlns:xs="http://www.w3.org/2001/XMLSchema" xmlns:p="http://schemas.microsoft.com/office/2006/metadata/properties" xmlns:ns2="59aa86d4-8482-4e7d-8192-67f82c1f2d36" xmlns:ns3="f0b3eb1c-1b7b-4139-bf4c-3b4ee139183e" targetNamespace="http://schemas.microsoft.com/office/2006/metadata/properties" ma:root="true" ma:fieldsID="ffb9ddef27f0c914da80ed039875b11e" ns2:_="" ns3:_="">
    <xsd:import namespace="59aa86d4-8482-4e7d-8192-67f82c1f2d36"/>
    <xsd:import namespace="f0b3eb1c-1b7b-4139-bf4c-3b4ee139183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aa86d4-8482-4e7d-8192-67f82c1f2d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ledmærker" ma:readOnly="false" ma:fieldId="{5cf76f15-5ced-4ddc-b409-7134ff3c332f}" ma:taxonomyMulti="true" ma:sspId="ac776fa4-3b1d-4731-af5e-132969315fa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b3eb1c-1b7b-4139-bf4c-3b4ee139183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0043d0e-91e9-4ba7-a1dc-47f3afc0f337}" ma:internalName="TaxCatchAll" ma:showField="CatchAllData" ma:web="f0b3eb1c-1b7b-4139-bf4c-3b4ee13918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444F4C-1391-4EC2-8597-754955F0AB53}">
  <ds:schemaRefs>
    <ds:schemaRef ds:uri="http://schemas.microsoft.com/sharepoint/v3/contenttype/forms"/>
  </ds:schemaRefs>
</ds:datastoreItem>
</file>

<file path=customXml/itemProps2.xml><?xml version="1.0" encoding="utf-8"?>
<ds:datastoreItem xmlns:ds="http://schemas.openxmlformats.org/officeDocument/2006/customXml" ds:itemID="{6B8D7C8A-D619-4A14-95AB-ECEA906188AB}">
  <ds:schemaRefs/>
</ds:datastoreItem>
</file>

<file path=customXml/itemProps3.xml><?xml version="1.0" encoding="utf-8"?>
<ds:datastoreItem xmlns:ds="http://schemas.openxmlformats.org/officeDocument/2006/customXml" ds:itemID="{395CF219-6EF5-4C77-99A1-97245B3181A6}">
  <ds:schemaRefs/>
</ds:datastoreItem>
</file>

<file path=customXml/itemProps4.xml><?xml version="1.0" encoding="utf-8"?>
<ds:datastoreItem xmlns:ds="http://schemas.openxmlformats.org/officeDocument/2006/customXml" ds:itemID="{F4180C7D-F0FC-46BF-9E15-4E3DFA65693C}">
  <ds:schemaRefs>
    <ds:schemaRef ds:uri="59aa86d4-8482-4e7d-8192-67f82c1f2d36"/>
    <ds:schemaRef ds:uri="f0b3eb1c-1b7b-4139-bf4c-3b4ee139183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AA567C03-6DC6-40F4-A67A-D10D79B43551}">
  <ds:schemaRefs>
    <ds:schemaRef ds:uri="59aa86d4-8482-4e7d-8192-67f82c1f2d36"/>
    <ds:schemaRef ds:uri="f0b3eb1c-1b7b-4139-bf4c-3b4ee13918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2</Slides>
  <Notes>9</Notes>
  <HiddenSlides>0</HiddenSlide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tema</vt:lpstr>
      <vt:lpstr>1_Office-tema</vt:lpstr>
      <vt:lpstr>Status på nystiftede virksomheder i 2025</vt:lpstr>
      <vt:lpstr>Indhold</vt:lpstr>
      <vt:lpstr>PowerPoint Presentation</vt:lpstr>
      <vt:lpstr>Overordnet vækst i nystiftede virksomheder drevet af stigning i anpartsselskaber</vt:lpstr>
      <vt:lpstr>To hovedbrancher udgør næsten halvdelen af nystiftede virksomheder i 2025</vt:lpstr>
      <vt:lpstr>Stigning i andel af anpartsselskaber på tværs af næsten alle brancher</vt:lpstr>
      <vt:lpstr>Vækst i nystiftede virksomheder på tværs af regioner – størst vækst i Region Hovedstaden</vt:lpstr>
      <vt:lpstr>Størst koncentration af nystartede virksomheder i Hovedstaden</vt:lpstr>
      <vt:lpstr>Udskiftning i kommuner med størst vækst i nystiftede virksomheder pr. 1000 indbyggere</vt:lpstr>
      <vt:lpstr>Forskelle i branchefordelingen blandt nystiftede virksomheder i by- og landkommuner</vt:lpstr>
      <vt:lpstr>PowerPoint Presentation</vt:lpstr>
      <vt:lpstr>PowerPoint Presentation</vt:lpstr>
    </vt:vector>
  </TitlesOfParts>
  <Company>EIF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Oliver Ryg Nielsen</dc:creator>
  <cp:revision>1</cp:revision>
  <dcterms:created xsi:type="dcterms:W3CDTF">2026-02-03T09:45:27Z</dcterms:created>
  <dcterms:modified xsi:type="dcterms:W3CDTF">2026-03-10T07:2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emplafyTimeStamp">
    <vt:lpwstr>2024-05-07T08:52:19</vt:lpwstr>
  </property>
  <property fmtid="{D5CDD505-2E9C-101B-9397-08002B2CF9AE}" pid="4" name="TemplafyTenantId">
    <vt:lpwstr>eifo</vt:lpwstr>
  </property>
  <property fmtid="{D5CDD505-2E9C-101B-9397-08002B2CF9AE}" pid="5" name="TemplafyTemplateId">
    <vt:lpwstr>907206511604793723</vt:lpwstr>
  </property>
  <property fmtid="{D5CDD505-2E9C-101B-9397-08002B2CF9AE}" pid="6" name="TemplafyUserProfileId">
    <vt:lpwstr>1371187946622287903</vt:lpwstr>
  </property>
  <property fmtid="{D5CDD505-2E9C-101B-9397-08002B2CF9AE}" pid="7" name="TemplafyLanguageCode">
    <vt:lpwstr>da-DK</vt:lpwstr>
  </property>
  <property fmtid="{D5CDD505-2E9C-101B-9397-08002B2CF9AE}" pid="8" name="TemplafyFromBlank">
    <vt:bool>true</vt:bool>
  </property>
  <property fmtid="{D5CDD505-2E9C-101B-9397-08002B2CF9AE}" pid="9" name="ContentTypeId">
    <vt:lpwstr>0x0101003A04EE7DCD327643A1E2B726EEB2C8D4</vt:lpwstr>
  </property>
</Properties>
</file>